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6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7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94.xml" ContentType="application/vnd.openxmlformats-officedocument.presentationml.tags+xml"/>
  <Override PartName="/ppt/notesSlides/notesSlide2.xml" ContentType="application/vnd.openxmlformats-officedocument.presentationml.notesSlide+xml"/>
  <Override PartName="/ppt/tags/tag95.xml" ContentType="application/vnd.openxmlformats-officedocument.presentationml.tags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6.xml" ContentType="application/vnd.openxmlformats-officedocument.presentationml.tags+xml"/>
  <Override PartName="/ppt/notesSlides/notesSlide3.xml" ContentType="application/vnd.openxmlformats-officedocument.presentationml.notesSlide+xml"/>
  <Override PartName="/ppt/tags/tag9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4.xml" ContentType="application/vnd.openxmlformats-officedocument.presentationml.notesSlide+xml"/>
  <Override PartName="/ppt/tags/tag100.xml" ContentType="application/vnd.openxmlformats-officedocument.presentationml.tags+xml"/>
  <Override PartName="/ppt/notesSlides/notesSlide5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diagrams/data2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3" r:id="rId5"/>
    <p:sldMasterId id="2147483705" r:id="rId6"/>
    <p:sldMasterId id="2147483722" r:id="rId7"/>
    <p:sldMasterId id="2147483766" r:id="rId8"/>
    <p:sldMasterId id="2147483821" r:id="rId9"/>
  </p:sldMasterIdLst>
  <p:notesMasterIdLst>
    <p:notesMasterId r:id="rId29"/>
  </p:notesMasterIdLst>
  <p:sldIdLst>
    <p:sldId id="2147471641" r:id="rId10"/>
    <p:sldId id="2147471693" r:id="rId11"/>
    <p:sldId id="2147471694" r:id="rId12"/>
    <p:sldId id="2147471695" r:id="rId13"/>
    <p:sldId id="2147471664" r:id="rId14"/>
    <p:sldId id="2147471672" r:id="rId15"/>
    <p:sldId id="2147471667" r:id="rId16"/>
    <p:sldId id="2147471708" r:id="rId17"/>
    <p:sldId id="2147471677" r:id="rId18"/>
    <p:sldId id="2147471670" r:id="rId19"/>
    <p:sldId id="2147471682" r:id="rId20"/>
    <p:sldId id="2147471681" r:id="rId21"/>
    <p:sldId id="2147471680" r:id="rId22"/>
    <p:sldId id="2147471683" r:id="rId23"/>
    <p:sldId id="2147471704" r:id="rId24"/>
    <p:sldId id="2147471705" r:id="rId25"/>
    <p:sldId id="2147471706" r:id="rId26"/>
    <p:sldId id="2147471702" r:id="rId27"/>
    <p:sldId id="2147471707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37047A3-58B9-99C0-D061-3F205F73208C}" name="Dougherty, Molly /US" initials="DM/" userId="S::Molly.Dougherty@sanofi.com::002fc822-01c3-4b08-bca4-94c31ebcdc28" providerId="AD"/>
  <p188:author id="{CD1780F8-AB90-51F5-258B-F24508CD321F}" name="O'dea, Madison /US" initials="O/" userId="S::madison.odea@sanofi.com::f6854beb-6869-4639-8c4f-7adbca70f46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rkbeck, Rachel /US" initials="BR/" lastIdx="19" clrIdx="0">
    <p:extLst>
      <p:ext uri="{19B8F6BF-5375-455C-9EA6-DF929625EA0E}">
        <p15:presenceInfo xmlns:p15="http://schemas.microsoft.com/office/powerpoint/2012/main" userId="S::Rachel.Birkbeck@sanofi.com::30fa33a8-cdf8-4129-acc6-91c1ff3cd1f1" providerId="AD"/>
      </p:ext>
    </p:extLst>
  </p:cmAuthor>
  <p:cmAuthor id="2" name="O'dea, Madison /US" initials="OM/" lastIdx="7" clrIdx="1">
    <p:extLst>
      <p:ext uri="{19B8F6BF-5375-455C-9EA6-DF929625EA0E}">
        <p15:presenceInfo xmlns:p15="http://schemas.microsoft.com/office/powerpoint/2012/main" userId="S::Madison.Odea@sanofi.com::f6854beb-6869-4639-8c4f-7adbca70f468" providerId="AD"/>
      </p:ext>
    </p:extLst>
  </p:cmAuthor>
  <p:cmAuthor id="3" name="Konopka, Abigail  1 /US" initials="KA1/" lastIdx="4" clrIdx="2">
    <p:extLst>
      <p:ext uri="{19B8F6BF-5375-455C-9EA6-DF929625EA0E}">
        <p15:presenceInfo xmlns:p15="http://schemas.microsoft.com/office/powerpoint/2012/main" userId="S::Abigail.Konopka2@sanofi.com::ccdceb11-6e28-4846-8da9-98922452f0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C7FF"/>
    <a:srgbClr val="DCE29C"/>
    <a:srgbClr val="239FD8"/>
    <a:srgbClr val="C7D35D"/>
    <a:srgbClr val="D2DB81"/>
    <a:srgbClr val="FFFFFF"/>
    <a:srgbClr val="3D0073"/>
    <a:srgbClr val="EFE0FC"/>
    <a:srgbClr val="7000D6"/>
    <a:srgbClr val="963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37627E-8282-4FF7-B71B-EB21AEB6AFCA}" v="3211" dt="2022-07-21T14:12:54.0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11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presProps" Target="presProps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917280917280912E-2"/>
          <c:y val="5.5167055167055168E-2"/>
          <c:w val="0.91056511056511058"/>
          <c:h val="0.88888888888888884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11"/>
            <c:marker>
              <c:symbol val="circle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3C2-43F5-8659-D3C255312BFD}"/>
              </c:ext>
            </c:extLst>
          </c:dPt>
          <c:dLbls>
            <c:dLbl>
              <c:idx val="0"/>
              <c:layout>
                <c:manualLayout>
                  <c:x val="3.9639639639639637E-2"/>
                  <c:y val="-7.8477078477078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3C2-43F5-8659-D3C255312BFD}"/>
                </c:ext>
              </c:extLst>
            </c:dLbl>
            <c:dLbl>
              <c:idx val="2"/>
              <c:layout>
                <c:manualLayout>
                  <c:x val="0"/>
                  <c:y val="-7.8477078477078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3C2-43F5-8659-D3C255312BFD}"/>
                </c:ext>
              </c:extLst>
            </c:dLbl>
            <c:dLbl>
              <c:idx val="4"/>
              <c:layout>
                <c:manualLayout>
                  <c:x val="0"/>
                  <c:y val="-7.8477078477078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3C2-43F5-8659-D3C255312BFD}"/>
                </c:ext>
              </c:extLst>
            </c:dLbl>
            <c:dLbl>
              <c:idx val="7"/>
              <c:layout>
                <c:manualLayout>
                  <c:x val="0"/>
                  <c:y val="-7.84770784770784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3C2-43F5-8659-D3C255312BF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37000</c:v>
                </c:pt>
                <c:pt idx="1">
                  <c:v>12000</c:v>
                </c:pt>
                <c:pt idx="2">
                  <c:v>43000</c:v>
                </c:pt>
                <c:pt idx="3">
                  <c:v>38000</c:v>
                </c:pt>
                <c:pt idx="4">
                  <c:v>51000</c:v>
                </c:pt>
                <c:pt idx="5">
                  <c:v>23000</c:v>
                </c:pt>
                <c:pt idx="6">
                  <c:v>38000</c:v>
                </c:pt>
                <c:pt idx="7">
                  <c:v>61000</c:v>
                </c:pt>
                <c:pt idx="8">
                  <c:v>34000</c:v>
                </c:pt>
                <c:pt idx="9">
                  <c:v>22000</c:v>
                </c:pt>
                <c:pt idx="10">
                  <c:v>136</c:v>
                </c:pt>
                <c:pt idx="11">
                  <c:v>4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3C2-43F5-8659-D3C255312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43614943"/>
        <c:axId val="1"/>
      </c:lineChart>
      <c:catAx>
        <c:axId val="14436149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3614943"/>
        <c:crosses val="min"/>
        <c:crossBetween val="midCat"/>
        <c:majorUnit val="2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82412149037613E-3"/>
          <c:y val="4.0185471406491501E-2"/>
          <c:w val="0.98163517570192482"/>
          <c:h val="0.91962905718701704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11"/>
            <c:marker>
              <c:symbol val="circl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4CED-4836-86A2-76A92EC26922}"/>
              </c:ext>
            </c:extLst>
          </c:dPt>
          <c:dLbls>
            <c:dLbl>
              <c:idx val="0"/>
              <c:layout>
                <c:manualLayout>
                  <c:x val="1.1831184884336925E-2"/>
                  <c:y val="-7.80525502318392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CED-4836-86A2-76A92EC26922}"/>
                </c:ext>
              </c:extLst>
            </c:dLbl>
            <c:dLbl>
              <c:idx val="2"/>
              <c:layout>
                <c:manualLayout>
                  <c:x val="0"/>
                  <c:y val="-7.80525502318392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CED-4836-86A2-76A92EC26922}"/>
                </c:ext>
              </c:extLst>
            </c:dLbl>
            <c:dLbl>
              <c:idx val="4"/>
              <c:layout>
                <c:manualLayout>
                  <c:x val="0"/>
                  <c:y val="-7.80525502318392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CED-4836-86A2-76A92EC26922}"/>
                </c:ext>
              </c:extLst>
            </c:dLbl>
            <c:dLbl>
              <c:idx val="7"/>
              <c:layout>
                <c:manualLayout>
                  <c:x val="0"/>
                  <c:y val="-7.80525502318392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CED-4836-86A2-76A92EC26922}"/>
                </c:ext>
              </c:extLst>
            </c:dLbl>
            <c:dLbl>
              <c:idx val="9"/>
              <c:layout>
                <c:manualLayout>
                  <c:x val="0"/>
                  <c:y val="-7.80525502318392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CED-4836-86A2-76A92EC2692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90000</c:v>
                </c:pt>
                <c:pt idx="1">
                  <c:v>140000</c:v>
                </c:pt>
                <c:pt idx="2">
                  <c:v>570000</c:v>
                </c:pt>
                <c:pt idx="3">
                  <c:v>350000</c:v>
                </c:pt>
                <c:pt idx="4">
                  <c:v>590000</c:v>
                </c:pt>
                <c:pt idx="5">
                  <c:v>280000</c:v>
                </c:pt>
                <c:pt idx="6">
                  <c:v>500000</c:v>
                </c:pt>
                <c:pt idx="7">
                  <c:v>810000</c:v>
                </c:pt>
                <c:pt idx="8">
                  <c:v>490000</c:v>
                </c:pt>
                <c:pt idx="9">
                  <c:v>400000</c:v>
                </c:pt>
                <c:pt idx="10">
                  <c:v>292</c:v>
                </c:pt>
                <c:pt idx="11">
                  <c:v>13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CED-4836-86A2-76A92EC269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4172944"/>
        <c:axId val="1"/>
      </c:lineChart>
      <c:catAx>
        <c:axId val="394172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4172944"/>
        <c:crosses val="min"/>
        <c:crossBetween val="midCat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1" i="0" u="none" strike="noStrike" kern="1200" cap="all" spc="5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r>
              <a:rPr lang="en-US" cap="none"/>
              <a:t>Adult 18+ Influenza Claim Volume By Medical And Retail</a:t>
            </a:r>
            <a:r>
              <a:rPr lang="en-US" sz="1680" b="1" i="0" u="none" strike="noStrike" cap="all" baseline="30000">
                <a:effectLst/>
              </a:rPr>
              <a:t>1</a:t>
            </a:r>
            <a:endParaRPr lang="en-US" cap="none"/>
          </a:p>
        </c:rich>
      </c:tx>
      <c:layout>
        <c:manualLayout>
          <c:xMode val="edge"/>
          <c:yMode val="edge"/>
          <c:x val="0.19399708103946481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1" i="0" u="none" strike="noStrike" kern="1200" cap="all" spc="5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6561399104858018E-2"/>
          <c:y val="9.2916693619707627E-2"/>
          <c:w val="0.82641826709838684"/>
          <c:h val="0.7118064714826901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tail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2013-14 </c:v>
                </c:pt>
                <c:pt idx="1">
                  <c:v>2014-15</c:v>
                </c:pt>
                <c:pt idx="2">
                  <c:v>2015-16 </c:v>
                </c:pt>
                <c:pt idx="3">
                  <c:v>2016-17 </c:v>
                </c:pt>
                <c:pt idx="4">
                  <c:v>2017-18 </c:v>
                </c:pt>
                <c:pt idx="5">
                  <c:v>2018-19 </c:v>
                </c:pt>
                <c:pt idx="6">
                  <c:v>2019-20 </c:v>
                </c:pt>
                <c:pt idx="7">
                  <c:v>2020-21 </c:v>
                </c:pt>
                <c:pt idx="8">
                  <c:v>2021-22 </c:v>
                </c:pt>
              </c:strCache>
            </c:strRef>
          </c:cat>
          <c:val>
            <c:numRef>
              <c:f>Sheet1!$B$2:$B$10</c:f>
              <c:numCache>
                <c:formatCode>#,##0</c:formatCode>
                <c:ptCount val="9"/>
                <c:pt idx="0">
                  <c:v>20984469</c:v>
                </c:pt>
                <c:pt idx="1">
                  <c:v>21810410</c:v>
                </c:pt>
                <c:pt idx="2">
                  <c:v>20652179</c:v>
                </c:pt>
                <c:pt idx="3">
                  <c:v>22128713</c:v>
                </c:pt>
                <c:pt idx="4">
                  <c:v>26866551</c:v>
                </c:pt>
                <c:pt idx="5">
                  <c:v>30791362</c:v>
                </c:pt>
                <c:pt idx="6">
                  <c:v>35358800</c:v>
                </c:pt>
                <c:pt idx="7">
                  <c:v>47630734</c:v>
                </c:pt>
                <c:pt idx="8">
                  <c:v>40447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33-41EE-B645-683AFEB1B90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cal</c:v>
                </c:pt>
              </c:strCache>
            </c:strRef>
          </c:tx>
          <c:spPr>
            <a:solidFill>
              <a:schemeClr val="accent4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2013-14 </c:v>
                </c:pt>
                <c:pt idx="1">
                  <c:v>2014-15</c:v>
                </c:pt>
                <c:pt idx="2">
                  <c:v>2015-16 </c:v>
                </c:pt>
                <c:pt idx="3">
                  <c:v>2016-17 </c:v>
                </c:pt>
                <c:pt idx="4">
                  <c:v>2017-18 </c:v>
                </c:pt>
                <c:pt idx="5">
                  <c:v>2018-19 </c:v>
                </c:pt>
                <c:pt idx="6">
                  <c:v>2019-20 </c:v>
                </c:pt>
                <c:pt idx="7">
                  <c:v>2020-21 </c:v>
                </c:pt>
                <c:pt idx="8">
                  <c:v>2021-22 </c:v>
                </c:pt>
              </c:strCache>
            </c:strRef>
          </c:cat>
          <c:val>
            <c:numRef>
              <c:f>Sheet1!$C$2:$C$10</c:f>
              <c:numCache>
                <c:formatCode>#,##0</c:formatCode>
                <c:ptCount val="9"/>
                <c:pt idx="0">
                  <c:v>30111728</c:v>
                </c:pt>
                <c:pt idx="1">
                  <c:v>30982675</c:v>
                </c:pt>
                <c:pt idx="2">
                  <c:v>32542865</c:v>
                </c:pt>
                <c:pt idx="3">
                  <c:v>34118694</c:v>
                </c:pt>
                <c:pt idx="4">
                  <c:v>38075129</c:v>
                </c:pt>
                <c:pt idx="5">
                  <c:v>37164532</c:v>
                </c:pt>
                <c:pt idx="6">
                  <c:v>36865599</c:v>
                </c:pt>
                <c:pt idx="7">
                  <c:v>32783771</c:v>
                </c:pt>
                <c:pt idx="8">
                  <c:v>30866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933-41EE-B645-683AFEB1B90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816658256"/>
        <c:axId val="816648456"/>
      </c:barChart>
      <c:valAx>
        <c:axId val="816648456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cap="all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r>
                  <a:rPr lang="en-US"/>
                  <a:t>Claims (000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cap="all" baseline="0">
                  <a:solidFill>
                    <a:schemeClr val="tx1"/>
                  </a:solidFill>
                  <a:latin typeface="Franklin Gothic Book" panose="020B05030201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endParaRPr lang="en-US"/>
          </a:p>
        </c:txPr>
        <c:crossAx val="816658256"/>
        <c:crosses val="max"/>
        <c:crossBetween val="between"/>
        <c:dispUnits>
          <c:builtInUnit val="thousands"/>
        </c:dispUnits>
      </c:valAx>
      <c:catAx>
        <c:axId val="81665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endParaRPr lang="en-US"/>
          </a:p>
        </c:txPr>
        <c:crossAx val="8166484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1899943388683913E-2"/>
          <c:y val="0.11809183575142761"/>
          <c:w val="0.13432306835856367"/>
          <c:h val="7.08751544617074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Franklin Gothic Book" panose="020B05030201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0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0B7D13A-9B5C-4852-A21E-202A416BEB2A}" type="doc">
      <dgm:prSet loTypeId="urn:microsoft.com/office/officeart/2008/layout/VerticalCurvedList" loCatId="list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C7DCF4A9-9766-4FFC-8661-093F16DA9089}">
      <dgm:prSet phldrT="[Text]" custT="1"/>
      <dgm:spPr/>
      <dgm:t>
        <a:bodyPr/>
        <a:lstStyle/>
        <a:p>
          <a:pPr algn="ctr"/>
          <a:r>
            <a:rPr lang="en-US" sz="1200"/>
            <a:t>Children 6 months to 5 years old</a:t>
          </a:r>
        </a:p>
      </dgm:t>
    </dgm:pt>
    <dgm:pt modelId="{BEA52597-1E85-4248-8F8B-3A75886A004F}" type="parTrans" cxnId="{49972E29-5E4F-4B70-B2A0-09E3F5747AE0}">
      <dgm:prSet/>
      <dgm:spPr/>
      <dgm:t>
        <a:bodyPr/>
        <a:lstStyle/>
        <a:p>
          <a:pPr algn="ctr"/>
          <a:endParaRPr lang="en-US" sz="2000"/>
        </a:p>
      </dgm:t>
    </dgm:pt>
    <dgm:pt modelId="{DFFE5BA0-58CA-477F-A699-12429098C0B2}" type="sibTrans" cxnId="{49972E29-5E4F-4B70-B2A0-09E3F5747AE0}">
      <dgm:prSet/>
      <dgm:spPr/>
      <dgm:t>
        <a:bodyPr/>
        <a:lstStyle/>
        <a:p>
          <a:pPr algn="ctr"/>
          <a:endParaRPr lang="en-US" sz="2000"/>
        </a:p>
      </dgm:t>
    </dgm:pt>
    <mc:AlternateContent xmlns:mc="http://schemas.openxmlformats.org/markup-compatibility/2006" xmlns:a14="http://schemas.microsoft.com/office/drawing/2010/main">
      <mc:Choice Requires="a14">
        <dgm:pt modelId="{21738C05-9E8D-4E65-B1F8-229ECCEADE6B}">
          <dgm:prSet phldrT="[Text]" custT="1"/>
          <dgm:spPr/>
          <dgm:t>
            <a:bodyPr/>
            <a:lstStyle/>
            <a:p>
              <a:pPr algn="ctr"/>
              <a:r>
                <a:rPr lang="en-US" sz="1200"/>
                <a:t>Elderly </a:t>
              </a:r>
              <a14:m>
                <m:oMath xmlns:m="http://schemas.openxmlformats.org/officeDocument/2006/math">
                  <m:r>
                    <a:rPr lang="en-US" sz="1200" i="1">
                      <a:latin typeface="Cambria Math" panose="02040503050406030204" pitchFamily="18" charset="0"/>
                      <a:ea typeface="Cambria Math" panose="02040503050406030204" pitchFamily="18" charset="0"/>
                    </a:rPr>
                    <m:t>≥</m:t>
                  </m:r>
                </m:oMath>
              </a14:m>
              <a:r>
                <a:rPr lang="en-US" sz="1200"/>
                <a:t> 65 years</a:t>
              </a:r>
            </a:p>
          </dgm:t>
        </dgm:pt>
      </mc:Choice>
      <mc:Fallback xmlns="">
        <dgm:pt modelId="{21738C05-9E8D-4E65-B1F8-229ECCEADE6B}">
          <dgm:prSet phldrT="[Text]" custT="1"/>
          <dgm:spPr/>
          <dgm:t>
            <a:bodyPr/>
            <a:lstStyle/>
            <a:p>
              <a:pPr algn="ctr"/>
              <a:r>
                <a:rPr lang="en-US" sz="1200"/>
                <a:t>Elderly </a:t>
              </a:r>
              <a:r>
                <a:rPr lang="en-US" sz="1200" i="0">
                  <a:latin typeface="Cambria Math" panose="02040503050406030204" pitchFamily="18" charset="0"/>
                  <a:ea typeface="Cambria Math" panose="02040503050406030204" pitchFamily="18" charset="0"/>
                </a:rPr>
                <a:t>≥</a:t>
              </a:r>
              <a:r>
                <a:rPr lang="en-US" sz="1200"/>
                <a:t> 65 years</a:t>
              </a:r>
            </a:p>
          </dgm:t>
        </dgm:pt>
      </mc:Fallback>
    </mc:AlternateContent>
    <dgm:pt modelId="{383E47AF-841B-42FE-988A-AEE610E8F193}" type="parTrans" cxnId="{BD9F7A07-F429-4E82-BDBB-471B3835A988}">
      <dgm:prSet/>
      <dgm:spPr/>
      <dgm:t>
        <a:bodyPr/>
        <a:lstStyle/>
        <a:p>
          <a:pPr algn="ctr"/>
          <a:endParaRPr lang="en-US" sz="2000"/>
        </a:p>
      </dgm:t>
    </dgm:pt>
    <dgm:pt modelId="{EB4F6901-3E34-4097-B65F-EF6605ABA1D2}" type="sibTrans" cxnId="{BD9F7A07-F429-4E82-BDBB-471B3835A988}">
      <dgm:prSet/>
      <dgm:spPr/>
      <dgm:t>
        <a:bodyPr/>
        <a:lstStyle/>
        <a:p>
          <a:pPr algn="ctr"/>
          <a:endParaRPr lang="en-US" sz="2000"/>
        </a:p>
      </dgm:t>
    </dgm:pt>
    <dgm:pt modelId="{7924AFAA-77B4-4FEF-94FC-643AD84A310B}">
      <dgm:prSet phldrT="[Text]" custT="1"/>
      <dgm:spPr/>
      <dgm:t>
        <a:bodyPr/>
        <a:lstStyle/>
        <a:p>
          <a:pPr algn="ctr"/>
          <a:r>
            <a:rPr lang="en-US" sz="1200"/>
            <a:t>Individuals with chronic medical conditions: cardiac, pumonary, renal, liver diseases or immunosuppression</a:t>
          </a:r>
        </a:p>
      </dgm:t>
    </dgm:pt>
    <dgm:pt modelId="{F0EC03E6-EA12-4B8D-A74C-79FDABC30A6D}" type="parTrans" cxnId="{E086E00B-FABD-44A1-84A8-E33D98C6B780}">
      <dgm:prSet/>
      <dgm:spPr/>
      <dgm:t>
        <a:bodyPr/>
        <a:lstStyle/>
        <a:p>
          <a:pPr algn="ctr"/>
          <a:endParaRPr lang="en-US" sz="2000"/>
        </a:p>
      </dgm:t>
    </dgm:pt>
    <dgm:pt modelId="{B4A23048-3E48-49CB-845A-2BBD98FD4779}" type="sibTrans" cxnId="{E086E00B-FABD-44A1-84A8-E33D98C6B780}">
      <dgm:prSet/>
      <dgm:spPr/>
      <dgm:t>
        <a:bodyPr/>
        <a:lstStyle/>
        <a:p>
          <a:pPr algn="ctr"/>
          <a:endParaRPr lang="en-US" sz="2000"/>
        </a:p>
      </dgm:t>
    </dgm:pt>
    <dgm:pt modelId="{1AC0B376-F0BE-4881-9F49-33168642C017}">
      <dgm:prSet phldrT="[Text]" custT="1"/>
      <dgm:spPr/>
      <dgm:t>
        <a:bodyPr/>
        <a:lstStyle/>
        <a:p>
          <a:pPr algn="ctr"/>
          <a:r>
            <a:rPr lang="en-US" sz="1200"/>
            <a:t>Pregnant women (any stage of pregnancy)</a:t>
          </a:r>
        </a:p>
      </dgm:t>
    </dgm:pt>
    <dgm:pt modelId="{8065F35F-4DA9-4A7E-999A-5D05E874E9F2}" type="parTrans" cxnId="{C8E0CF94-729C-4AB9-950D-2D879AFC00FB}">
      <dgm:prSet/>
      <dgm:spPr/>
      <dgm:t>
        <a:bodyPr/>
        <a:lstStyle/>
        <a:p>
          <a:pPr algn="ctr"/>
          <a:endParaRPr lang="en-US" sz="2000"/>
        </a:p>
      </dgm:t>
    </dgm:pt>
    <dgm:pt modelId="{D1C10049-3204-49FF-97D9-58573BFB6506}" type="sibTrans" cxnId="{C8E0CF94-729C-4AB9-950D-2D879AFC00FB}">
      <dgm:prSet/>
      <dgm:spPr/>
      <dgm:t>
        <a:bodyPr/>
        <a:lstStyle/>
        <a:p>
          <a:pPr algn="ctr"/>
          <a:endParaRPr lang="en-US" sz="2000"/>
        </a:p>
      </dgm:t>
    </dgm:pt>
    <dgm:pt modelId="{B11228CD-948F-4D3A-A97E-8B4332001A7D}">
      <dgm:prSet phldrT="[Text]" custT="1"/>
      <dgm:spPr/>
      <dgm:t>
        <a:bodyPr/>
        <a:lstStyle/>
        <a:p>
          <a:pPr algn="ctr"/>
          <a:r>
            <a:rPr lang="en-US" sz="1200"/>
            <a:t>Healthcare workers</a:t>
          </a:r>
        </a:p>
      </dgm:t>
    </dgm:pt>
    <dgm:pt modelId="{E6B63E9E-8C3E-4B53-84E0-C40A872C3AC3}" type="parTrans" cxnId="{E92F7EBD-417A-4078-B7B7-A4552F981DF2}">
      <dgm:prSet/>
      <dgm:spPr/>
      <dgm:t>
        <a:bodyPr/>
        <a:lstStyle/>
        <a:p>
          <a:pPr algn="ctr"/>
          <a:endParaRPr lang="en-US" sz="2000"/>
        </a:p>
      </dgm:t>
    </dgm:pt>
    <dgm:pt modelId="{110CDF36-E4BB-4689-B7B5-5782B22E4680}" type="sibTrans" cxnId="{E92F7EBD-417A-4078-B7B7-A4552F981DF2}">
      <dgm:prSet/>
      <dgm:spPr/>
      <dgm:t>
        <a:bodyPr/>
        <a:lstStyle/>
        <a:p>
          <a:pPr algn="ctr"/>
          <a:endParaRPr lang="en-US" sz="2000"/>
        </a:p>
      </dgm:t>
    </dgm:pt>
    <dgm:pt modelId="{31A3087A-D27D-4A45-9A8F-F124FC7621B0}">
      <dgm:prSet phldrT="[Text]" custT="1"/>
      <dgm:spPr/>
      <dgm:t>
        <a:bodyPr/>
        <a:lstStyle/>
        <a:p>
          <a:pPr algn="ctr"/>
          <a:r>
            <a:rPr lang="en-US" sz="1200" b="0" i="0"/>
            <a:t>People from certain racial and ethnic minority groups</a:t>
          </a:r>
          <a:endParaRPr lang="en-US" sz="1200"/>
        </a:p>
      </dgm:t>
    </dgm:pt>
    <dgm:pt modelId="{45774299-8513-431B-BE4E-1BEC60727795}" type="parTrans" cxnId="{EF22B42B-ED39-4E02-A11A-28E4305A8813}">
      <dgm:prSet/>
      <dgm:spPr/>
      <dgm:t>
        <a:bodyPr/>
        <a:lstStyle/>
        <a:p>
          <a:endParaRPr lang="en-US" sz="2000"/>
        </a:p>
      </dgm:t>
    </dgm:pt>
    <dgm:pt modelId="{0E1A5951-5225-4030-B35C-7B2AC04AFE10}" type="sibTrans" cxnId="{EF22B42B-ED39-4E02-A11A-28E4305A8813}">
      <dgm:prSet/>
      <dgm:spPr/>
      <dgm:t>
        <a:bodyPr/>
        <a:lstStyle/>
        <a:p>
          <a:endParaRPr lang="en-US" sz="2000"/>
        </a:p>
      </dgm:t>
    </dgm:pt>
    <dgm:pt modelId="{F4814DA5-B4FE-4396-97D0-8073E309815D}" type="pres">
      <dgm:prSet presAssocID="{80B7D13A-9B5C-4852-A21E-202A416BEB2A}" presName="Name0" presStyleCnt="0">
        <dgm:presLayoutVars>
          <dgm:chMax val="7"/>
          <dgm:chPref val="7"/>
          <dgm:dir/>
        </dgm:presLayoutVars>
      </dgm:prSet>
      <dgm:spPr/>
    </dgm:pt>
    <dgm:pt modelId="{B3A3673B-47BB-4482-84F0-3785D0746D1C}" type="pres">
      <dgm:prSet presAssocID="{80B7D13A-9B5C-4852-A21E-202A416BEB2A}" presName="Name1" presStyleCnt="0"/>
      <dgm:spPr/>
    </dgm:pt>
    <dgm:pt modelId="{45333501-D92C-441C-B152-6FF44405521C}" type="pres">
      <dgm:prSet presAssocID="{80B7D13A-9B5C-4852-A21E-202A416BEB2A}" presName="cycle" presStyleCnt="0"/>
      <dgm:spPr/>
    </dgm:pt>
    <dgm:pt modelId="{69A8782F-0047-475A-89FF-0A63B714929D}" type="pres">
      <dgm:prSet presAssocID="{80B7D13A-9B5C-4852-A21E-202A416BEB2A}" presName="srcNode" presStyleLbl="node1" presStyleIdx="0" presStyleCnt="6"/>
      <dgm:spPr/>
    </dgm:pt>
    <dgm:pt modelId="{7C8A654D-DE5E-4682-B928-6D54DDA5E0B7}" type="pres">
      <dgm:prSet presAssocID="{80B7D13A-9B5C-4852-A21E-202A416BEB2A}" presName="conn" presStyleLbl="parChTrans1D2" presStyleIdx="0" presStyleCnt="1"/>
      <dgm:spPr/>
    </dgm:pt>
    <dgm:pt modelId="{67A5FDB0-82A1-44D7-A6F0-2122DDCC0A08}" type="pres">
      <dgm:prSet presAssocID="{80B7D13A-9B5C-4852-A21E-202A416BEB2A}" presName="extraNode" presStyleLbl="node1" presStyleIdx="0" presStyleCnt="6"/>
      <dgm:spPr/>
    </dgm:pt>
    <dgm:pt modelId="{BF1DB8E7-6FC4-4796-96F1-328F6C5642C7}" type="pres">
      <dgm:prSet presAssocID="{80B7D13A-9B5C-4852-A21E-202A416BEB2A}" presName="dstNode" presStyleLbl="node1" presStyleIdx="0" presStyleCnt="6"/>
      <dgm:spPr/>
    </dgm:pt>
    <dgm:pt modelId="{DD4DD5CC-C975-454B-98A7-DD326EC52DDC}" type="pres">
      <dgm:prSet presAssocID="{C7DCF4A9-9766-4FFC-8661-093F16DA9089}" presName="text_1" presStyleLbl="node1" presStyleIdx="0" presStyleCnt="6" custScaleY="108872">
        <dgm:presLayoutVars>
          <dgm:bulletEnabled val="1"/>
        </dgm:presLayoutVars>
      </dgm:prSet>
      <dgm:spPr/>
    </dgm:pt>
    <dgm:pt modelId="{7B775187-A21A-48FC-B2E3-D1AB6E32D510}" type="pres">
      <dgm:prSet presAssocID="{C7DCF4A9-9766-4FFC-8661-093F16DA9089}" presName="accent_1" presStyleCnt="0"/>
      <dgm:spPr/>
    </dgm:pt>
    <dgm:pt modelId="{13E9C2B0-07FE-4138-B0F8-63E4DA09A54D}" type="pres">
      <dgm:prSet presAssocID="{C7DCF4A9-9766-4FFC-8661-093F16DA9089}" presName="accentRepeatNode" presStyleLbl="solidFgAcc1" presStyleIdx="0" presStyleCnt="6"/>
      <dgm:spPr/>
    </dgm:pt>
    <dgm:pt modelId="{38DC82A8-0913-41DE-A5DA-508897BDF9ED}" type="pres">
      <dgm:prSet presAssocID="{21738C05-9E8D-4E65-B1F8-229ECCEADE6B}" presName="text_2" presStyleLbl="node1" presStyleIdx="1" presStyleCnt="6" custScaleY="108872">
        <dgm:presLayoutVars>
          <dgm:bulletEnabled val="1"/>
        </dgm:presLayoutVars>
      </dgm:prSet>
      <dgm:spPr/>
    </dgm:pt>
    <dgm:pt modelId="{DEF46EDE-30F2-40F1-B139-33500BFD7890}" type="pres">
      <dgm:prSet presAssocID="{21738C05-9E8D-4E65-B1F8-229ECCEADE6B}" presName="accent_2" presStyleCnt="0"/>
      <dgm:spPr/>
    </dgm:pt>
    <dgm:pt modelId="{076B7251-EA0A-40F1-9787-AFA2449413B2}" type="pres">
      <dgm:prSet presAssocID="{21738C05-9E8D-4E65-B1F8-229ECCEADE6B}" presName="accentRepeatNode" presStyleLbl="solidFgAcc1" presStyleIdx="1" presStyleCnt="6"/>
      <dgm:spPr/>
    </dgm:pt>
    <dgm:pt modelId="{418B1C1B-289B-47A1-81C5-308E6485443C}" type="pres">
      <dgm:prSet presAssocID="{7924AFAA-77B4-4FEF-94FC-643AD84A310B}" presName="text_3" presStyleLbl="node1" presStyleIdx="2" presStyleCnt="6" custScaleY="108872">
        <dgm:presLayoutVars>
          <dgm:bulletEnabled val="1"/>
        </dgm:presLayoutVars>
      </dgm:prSet>
      <dgm:spPr/>
    </dgm:pt>
    <dgm:pt modelId="{EC45E27B-E0F1-4AC0-AFAD-DDED92BC2B71}" type="pres">
      <dgm:prSet presAssocID="{7924AFAA-77B4-4FEF-94FC-643AD84A310B}" presName="accent_3" presStyleCnt="0"/>
      <dgm:spPr/>
    </dgm:pt>
    <dgm:pt modelId="{39833D49-F2F1-4EE7-B64E-E6618BEA23FE}" type="pres">
      <dgm:prSet presAssocID="{7924AFAA-77B4-4FEF-94FC-643AD84A310B}" presName="accentRepeatNode" presStyleLbl="solidFgAcc1" presStyleIdx="2" presStyleCnt="6"/>
      <dgm:spPr/>
    </dgm:pt>
    <dgm:pt modelId="{0C902770-AEDD-4EE6-9269-FEF5B5F3F26C}" type="pres">
      <dgm:prSet presAssocID="{1AC0B376-F0BE-4881-9F49-33168642C017}" presName="text_4" presStyleLbl="node1" presStyleIdx="3" presStyleCnt="6" custScaleY="108872">
        <dgm:presLayoutVars>
          <dgm:bulletEnabled val="1"/>
        </dgm:presLayoutVars>
      </dgm:prSet>
      <dgm:spPr/>
    </dgm:pt>
    <dgm:pt modelId="{94F5D469-DA3A-4C93-824F-18A0F7C7A228}" type="pres">
      <dgm:prSet presAssocID="{1AC0B376-F0BE-4881-9F49-33168642C017}" presName="accent_4" presStyleCnt="0"/>
      <dgm:spPr/>
    </dgm:pt>
    <dgm:pt modelId="{F6003A19-B998-4333-9FCD-C38D7483F5D5}" type="pres">
      <dgm:prSet presAssocID="{1AC0B376-F0BE-4881-9F49-33168642C017}" presName="accentRepeatNode" presStyleLbl="solidFgAcc1" presStyleIdx="3" presStyleCnt="6"/>
      <dgm:spPr/>
    </dgm:pt>
    <dgm:pt modelId="{FDC3BAC2-A67D-4A78-8857-85E77EDF90DB}" type="pres">
      <dgm:prSet presAssocID="{31A3087A-D27D-4A45-9A8F-F124FC7621B0}" presName="text_5" presStyleLbl="node1" presStyleIdx="4" presStyleCnt="6" custScaleY="108872">
        <dgm:presLayoutVars>
          <dgm:bulletEnabled val="1"/>
        </dgm:presLayoutVars>
      </dgm:prSet>
      <dgm:spPr/>
    </dgm:pt>
    <dgm:pt modelId="{EBA514EA-4139-4C27-AC58-72C875940303}" type="pres">
      <dgm:prSet presAssocID="{31A3087A-D27D-4A45-9A8F-F124FC7621B0}" presName="accent_5" presStyleCnt="0"/>
      <dgm:spPr/>
    </dgm:pt>
    <dgm:pt modelId="{20209C6E-9BD3-4F99-9C03-0AF706BB7F96}" type="pres">
      <dgm:prSet presAssocID="{31A3087A-D27D-4A45-9A8F-F124FC7621B0}" presName="accentRepeatNode" presStyleLbl="solidFgAcc1" presStyleIdx="4" presStyleCnt="6"/>
      <dgm:spPr/>
    </dgm:pt>
    <dgm:pt modelId="{ABAF5F7E-F047-42DB-A22C-4B4E289FE285}" type="pres">
      <dgm:prSet presAssocID="{B11228CD-948F-4D3A-A97E-8B4332001A7D}" presName="text_6" presStyleLbl="node1" presStyleIdx="5" presStyleCnt="6" custScaleY="108872">
        <dgm:presLayoutVars>
          <dgm:bulletEnabled val="1"/>
        </dgm:presLayoutVars>
      </dgm:prSet>
      <dgm:spPr/>
    </dgm:pt>
    <dgm:pt modelId="{F998D32B-FA9E-4F1F-B3E7-3906779BC2C0}" type="pres">
      <dgm:prSet presAssocID="{B11228CD-948F-4D3A-A97E-8B4332001A7D}" presName="accent_6" presStyleCnt="0"/>
      <dgm:spPr/>
    </dgm:pt>
    <dgm:pt modelId="{64198239-8126-4467-A417-7E020EFCF804}" type="pres">
      <dgm:prSet presAssocID="{B11228CD-948F-4D3A-A97E-8B4332001A7D}" presName="accentRepeatNode" presStyleLbl="solidFgAcc1" presStyleIdx="5" presStyleCnt="6"/>
      <dgm:spPr/>
    </dgm:pt>
  </dgm:ptLst>
  <dgm:cxnLst>
    <dgm:cxn modelId="{BD9F7A07-F429-4E82-BDBB-471B3835A988}" srcId="{80B7D13A-9B5C-4852-A21E-202A416BEB2A}" destId="{21738C05-9E8D-4E65-B1F8-229ECCEADE6B}" srcOrd="1" destOrd="0" parTransId="{383E47AF-841B-42FE-988A-AEE610E8F193}" sibTransId="{EB4F6901-3E34-4097-B65F-EF6605ABA1D2}"/>
    <dgm:cxn modelId="{E086E00B-FABD-44A1-84A8-E33D98C6B780}" srcId="{80B7D13A-9B5C-4852-A21E-202A416BEB2A}" destId="{7924AFAA-77B4-4FEF-94FC-643AD84A310B}" srcOrd="2" destOrd="0" parTransId="{F0EC03E6-EA12-4B8D-A74C-79FDABC30A6D}" sibTransId="{B4A23048-3E48-49CB-845A-2BBD98FD4779}"/>
    <dgm:cxn modelId="{65AB7B0C-692B-4D93-875C-B567B4AB3DDB}" type="presOf" srcId="{1AC0B376-F0BE-4881-9F49-33168642C017}" destId="{0C902770-AEDD-4EE6-9269-FEF5B5F3F26C}" srcOrd="0" destOrd="0" presId="urn:microsoft.com/office/officeart/2008/layout/VerticalCurvedList"/>
    <dgm:cxn modelId="{9354BC16-5886-4B79-8C9B-A3892AD86A5D}" type="presOf" srcId="{80B7D13A-9B5C-4852-A21E-202A416BEB2A}" destId="{F4814DA5-B4FE-4396-97D0-8073E309815D}" srcOrd="0" destOrd="0" presId="urn:microsoft.com/office/officeart/2008/layout/VerticalCurvedList"/>
    <dgm:cxn modelId="{D3C10F1B-5151-4ADB-A4E7-647F308DE5D8}" type="presOf" srcId="{C7DCF4A9-9766-4FFC-8661-093F16DA9089}" destId="{DD4DD5CC-C975-454B-98A7-DD326EC52DDC}" srcOrd="0" destOrd="0" presId="urn:microsoft.com/office/officeart/2008/layout/VerticalCurvedList"/>
    <dgm:cxn modelId="{49972E29-5E4F-4B70-B2A0-09E3F5747AE0}" srcId="{80B7D13A-9B5C-4852-A21E-202A416BEB2A}" destId="{C7DCF4A9-9766-4FFC-8661-093F16DA9089}" srcOrd="0" destOrd="0" parTransId="{BEA52597-1E85-4248-8F8B-3A75886A004F}" sibTransId="{DFFE5BA0-58CA-477F-A699-12429098C0B2}"/>
    <dgm:cxn modelId="{EF22B42B-ED39-4E02-A11A-28E4305A8813}" srcId="{80B7D13A-9B5C-4852-A21E-202A416BEB2A}" destId="{31A3087A-D27D-4A45-9A8F-F124FC7621B0}" srcOrd="4" destOrd="0" parTransId="{45774299-8513-431B-BE4E-1BEC60727795}" sibTransId="{0E1A5951-5225-4030-B35C-7B2AC04AFE10}"/>
    <dgm:cxn modelId="{C051FB35-B48B-4081-9615-FB031FFA0C0C}" type="presOf" srcId="{B11228CD-948F-4D3A-A97E-8B4332001A7D}" destId="{ABAF5F7E-F047-42DB-A22C-4B4E289FE285}" srcOrd="0" destOrd="0" presId="urn:microsoft.com/office/officeart/2008/layout/VerticalCurvedList"/>
    <dgm:cxn modelId="{2001265B-DEA8-4134-90E9-0A9F0106BCBE}" type="presOf" srcId="{21738C05-9E8D-4E65-B1F8-229ECCEADE6B}" destId="{38DC82A8-0913-41DE-A5DA-508897BDF9ED}" srcOrd="0" destOrd="0" presId="urn:microsoft.com/office/officeart/2008/layout/VerticalCurvedList"/>
    <dgm:cxn modelId="{BE1D606F-DD2D-4E68-8CF1-57CA976912E8}" type="presOf" srcId="{31A3087A-D27D-4A45-9A8F-F124FC7621B0}" destId="{FDC3BAC2-A67D-4A78-8857-85E77EDF90DB}" srcOrd="0" destOrd="0" presId="urn:microsoft.com/office/officeart/2008/layout/VerticalCurvedList"/>
    <dgm:cxn modelId="{C8E0CF94-729C-4AB9-950D-2D879AFC00FB}" srcId="{80B7D13A-9B5C-4852-A21E-202A416BEB2A}" destId="{1AC0B376-F0BE-4881-9F49-33168642C017}" srcOrd="3" destOrd="0" parTransId="{8065F35F-4DA9-4A7E-999A-5D05E874E9F2}" sibTransId="{D1C10049-3204-49FF-97D9-58573BFB6506}"/>
    <dgm:cxn modelId="{225205B0-0927-479C-820B-A865FBEA46D1}" type="presOf" srcId="{7924AFAA-77B4-4FEF-94FC-643AD84A310B}" destId="{418B1C1B-289B-47A1-81C5-308E6485443C}" srcOrd="0" destOrd="0" presId="urn:microsoft.com/office/officeart/2008/layout/VerticalCurvedList"/>
    <dgm:cxn modelId="{E92F7EBD-417A-4078-B7B7-A4552F981DF2}" srcId="{80B7D13A-9B5C-4852-A21E-202A416BEB2A}" destId="{B11228CD-948F-4D3A-A97E-8B4332001A7D}" srcOrd="5" destOrd="0" parTransId="{E6B63E9E-8C3E-4B53-84E0-C40A872C3AC3}" sibTransId="{110CDF36-E4BB-4689-B7B5-5782B22E4680}"/>
    <dgm:cxn modelId="{ED5B22C8-D14C-4052-AB83-59878F8F6800}" type="presOf" srcId="{DFFE5BA0-58CA-477F-A699-12429098C0B2}" destId="{7C8A654D-DE5E-4682-B928-6D54DDA5E0B7}" srcOrd="0" destOrd="0" presId="urn:microsoft.com/office/officeart/2008/layout/VerticalCurvedList"/>
    <dgm:cxn modelId="{27442820-7F0D-4303-86C4-D1560CF1D0CE}" type="presParOf" srcId="{F4814DA5-B4FE-4396-97D0-8073E309815D}" destId="{B3A3673B-47BB-4482-84F0-3785D0746D1C}" srcOrd="0" destOrd="0" presId="urn:microsoft.com/office/officeart/2008/layout/VerticalCurvedList"/>
    <dgm:cxn modelId="{6F5CAB2C-7770-4052-B16B-E0806169F427}" type="presParOf" srcId="{B3A3673B-47BB-4482-84F0-3785D0746D1C}" destId="{45333501-D92C-441C-B152-6FF44405521C}" srcOrd="0" destOrd="0" presId="urn:microsoft.com/office/officeart/2008/layout/VerticalCurvedList"/>
    <dgm:cxn modelId="{DC1387DA-AFFB-4A54-983D-7D5C0F059172}" type="presParOf" srcId="{45333501-D92C-441C-B152-6FF44405521C}" destId="{69A8782F-0047-475A-89FF-0A63B714929D}" srcOrd="0" destOrd="0" presId="urn:microsoft.com/office/officeart/2008/layout/VerticalCurvedList"/>
    <dgm:cxn modelId="{57E571A5-A706-4F9A-B5D7-39C094331103}" type="presParOf" srcId="{45333501-D92C-441C-B152-6FF44405521C}" destId="{7C8A654D-DE5E-4682-B928-6D54DDA5E0B7}" srcOrd="1" destOrd="0" presId="urn:microsoft.com/office/officeart/2008/layout/VerticalCurvedList"/>
    <dgm:cxn modelId="{6E832368-FA02-4FDD-8F71-AB63373096D8}" type="presParOf" srcId="{45333501-D92C-441C-B152-6FF44405521C}" destId="{67A5FDB0-82A1-44D7-A6F0-2122DDCC0A08}" srcOrd="2" destOrd="0" presId="urn:microsoft.com/office/officeart/2008/layout/VerticalCurvedList"/>
    <dgm:cxn modelId="{E500401E-5D18-4383-AF4B-C3A5EEE93FBF}" type="presParOf" srcId="{45333501-D92C-441C-B152-6FF44405521C}" destId="{BF1DB8E7-6FC4-4796-96F1-328F6C5642C7}" srcOrd="3" destOrd="0" presId="urn:microsoft.com/office/officeart/2008/layout/VerticalCurvedList"/>
    <dgm:cxn modelId="{7C05D7E2-6BB3-4366-82C6-74A326F85324}" type="presParOf" srcId="{B3A3673B-47BB-4482-84F0-3785D0746D1C}" destId="{DD4DD5CC-C975-454B-98A7-DD326EC52DDC}" srcOrd="1" destOrd="0" presId="urn:microsoft.com/office/officeart/2008/layout/VerticalCurvedList"/>
    <dgm:cxn modelId="{298DDD23-060E-43E3-A619-24364DC5A88D}" type="presParOf" srcId="{B3A3673B-47BB-4482-84F0-3785D0746D1C}" destId="{7B775187-A21A-48FC-B2E3-D1AB6E32D510}" srcOrd="2" destOrd="0" presId="urn:microsoft.com/office/officeart/2008/layout/VerticalCurvedList"/>
    <dgm:cxn modelId="{AAFA703C-B30F-44BC-A5DE-DF4C232C231F}" type="presParOf" srcId="{7B775187-A21A-48FC-B2E3-D1AB6E32D510}" destId="{13E9C2B0-07FE-4138-B0F8-63E4DA09A54D}" srcOrd="0" destOrd="0" presId="urn:microsoft.com/office/officeart/2008/layout/VerticalCurvedList"/>
    <dgm:cxn modelId="{13226EFC-62B5-4765-AF4C-85BA63398250}" type="presParOf" srcId="{B3A3673B-47BB-4482-84F0-3785D0746D1C}" destId="{38DC82A8-0913-41DE-A5DA-508897BDF9ED}" srcOrd="3" destOrd="0" presId="urn:microsoft.com/office/officeart/2008/layout/VerticalCurvedList"/>
    <dgm:cxn modelId="{BA2767E7-8362-4823-9A13-18DBCC1290F1}" type="presParOf" srcId="{B3A3673B-47BB-4482-84F0-3785D0746D1C}" destId="{DEF46EDE-30F2-40F1-B139-33500BFD7890}" srcOrd="4" destOrd="0" presId="urn:microsoft.com/office/officeart/2008/layout/VerticalCurvedList"/>
    <dgm:cxn modelId="{E11FBF86-97E4-4078-8F7D-CE36017CD1AC}" type="presParOf" srcId="{DEF46EDE-30F2-40F1-B139-33500BFD7890}" destId="{076B7251-EA0A-40F1-9787-AFA2449413B2}" srcOrd="0" destOrd="0" presId="urn:microsoft.com/office/officeart/2008/layout/VerticalCurvedList"/>
    <dgm:cxn modelId="{6E6F422C-254D-4FB4-9A59-C28843F43766}" type="presParOf" srcId="{B3A3673B-47BB-4482-84F0-3785D0746D1C}" destId="{418B1C1B-289B-47A1-81C5-308E6485443C}" srcOrd="5" destOrd="0" presId="urn:microsoft.com/office/officeart/2008/layout/VerticalCurvedList"/>
    <dgm:cxn modelId="{FEDA6354-1045-4A9B-A188-23EAFCEFE386}" type="presParOf" srcId="{B3A3673B-47BB-4482-84F0-3785D0746D1C}" destId="{EC45E27B-E0F1-4AC0-AFAD-DDED92BC2B71}" srcOrd="6" destOrd="0" presId="urn:microsoft.com/office/officeart/2008/layout/VerticalCurvedList"/>
    <dgm:cxn modelId="{CD9FCE7D-8107-49D7-A9FA-1DB6609FF4AE}" type="presParOf" srcId="{EC45E27B-E0F1-4AC0-AFAD-DDED92BC2B71}" destId="{39833D49-F2F1-4EE7-B64E-E6618BEA23FE}" srcOrd="0" destOrd="0" presId="urn:microsoft.com/office/officeart/2008/layout/VerticalCurvedList"/>
    <dgm:cxn modelId="{381CF010-BA0A-4063-84A6-29CFEC131F00}" type="presParOf" srcId="{B3A3673B-47BB-4482-84F0-3785D0746D1C}" destId="{0C902770-AEDD-4EE6-9269-FEF5B5F3F26C}" srcOrd="7" destOrd="0" presId="urn:microsoft.com/office/officeart/2008/layout/VerticalCurvedList"/>
    <dgm:cxn modelId="{C0C37383-E934-48E4-A99F-3850369550BE}" type="presParOf" srcId="{B3A3673B-47BB-4482-84F0-3785D0746D1C}" destId="{94F5D469-DA3A-4C93-824F-18A0F7C7A228}" srcOrd="8" destOrd="0" presId="urn:microsoft.com/office/officeart/2008/layout/VerticalCurvedList"/>
    <dgm:cxn modelId="{7616757C-450C-41E2-9CE8-E59D96CE99C2}" type="presParOf" srcId="{94F5D469-DA3A-4C93-824F-18A0F7C7A228}" destId="{F6003A19-B998-4333-9FCD-C38D7483F5D5}" srcOrd="0" destOrd="0" presId="urn:microsoft.com/office/officeart/2008/layout/VerticalCurvedList"/>
    <dgm:cxn modelId="{535755B8-8459-484F-912F-2A3A7B65612E}" type="presParOf" srcId="{B3A3673B-47BB-4482-84F0-3785D0746D1C}" destId="{FDC3BAC2-A67D-4A78-8857-85E77EDF90DB}" srcOrd="9" destOrd="0" presId="urn:microsoft.com/office/officeart/2008/layout/VerticalCurvedList"/>
    <dgm:cxn modelId="{4EBE85FB-DFE4-4DF4-8E6E-3799DE3A44CC}" type="presParOf" srcId="{B3A3673B-47BB-4482-84F0-3785D0746D1C}" destId="{EBA514EA-4139-4C27-AC58-72C875940303}" srcOrd="10" destOrd="0" presId="urn:microsoft.com/office/officeart/2008/layout/VerticalCurvedList"/>
    <dgm:cxn modelId="{50A97AC9-3E2C-4907-9796-538177074962}" type="presParOf" srcId="{EBA514EA-4139-4C27-AC58-72C875940303}" destId="{20209C6E-9BD3-4F99-9C03-0AF706BB7F96}" srcOrd="0" destOrd="0" presId="urn:microsoft.com/office/officeart/2008/layout/VerticalCurvedList"/>
    <dgm:cxn modelId="{62EDFC27-DAF4-4CAC-A88A-A1C83517179A}" type="presParOf" srcId="{B3A3673B-47BB-4482-84F0-3785D0746D1C}" destId="{ABAF5F7E-F047-42DB-A22C-4B4E289FE285}" srcOrd="11" destOrd="0" presId="urn:microsoft.com/office/officeart/2008/layout/VerticalCurvedList"/>
    <dgm:cxn modelId="{CA1740FF-1AAF-4E6D-8717-EE6BCEBD9A40}" type="presParOf" srcId="{B3A3673B-47BB-4482-84F0-3785D0746D1C}" destId="{F998D32B-FA9E-4F1F-B3E7-3906779BC2C0}" srcOrd="12" destOrd="0" presId="urn:microsoft.com/office/officeart/2008/layout/VerticalCurvedList"/>
    <dgm:cxn modelId="{54E6598D-5069-422C-BC0E-AE09F69F12C8}" type="presParOf" srcId="{F998D32B-FA9E-4F1F-B3E7-3906779BC2C0}" destId="{64198239-8126-4467-A417-7E020EFCF80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0B7D13A-9B5C-4852-A21E-202A416BEB2A}" type="doc">
      <dgm:prSet loTypeId="urn:microsoft.com/office/officeart/2008/layout/VerticalCurvedList" loCatId="list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C7DCF4A9-9766-4FFC-8661-093F16DA9089}">
      <dgm:prSet phldrT="[Text]" custT="1"/>
      <dgm:spPr/>
      <dgm:t>
        <a:bodyPr/>
        <a:lstStyle/>
        <a:p>
          <a:pPr algn="ctr"/>
          <a:r>
            <a:rPr lang="en-US" sz="1200"/>
            <a:t>Children 6 months to 5 years old</a:t>
          </a:r>
        </a:p>
      </dgm:t>
    </dgm:pt>
    <dgm:pt modelId="{BEA52597-1E85-4248-8F8B-3A75886A004F}" type="parTrans" cxnId="{49972E29-5E4F-4B70-B2A0-09E3F5747AE0}">
      <dgm:prSet/>
      <dgm:spPr/>
      <dgm:t>
        <a:bodyPr/>
        <a:lstStyle/>
        <a:p>
          <a:pPr algn="ctr"/>
          <a:endParaRPr lang="en-US" sz="2000"/>
        </a:p>
      </dgm:t>
    </dgm:pt>
    <dgm:pt modelId="{DFFE5BA0-58CA-477F-A699-12429098C0B2}" type="sibTrans" cxnId="{49972E29-5E4F-4B70-B2A0-09E3F5747AE0}">
      <dgm:prSet/>
      <dgm:spPr/>
      <dgm:t>
        <a:bodyPr/>
        <a:lstStyle/>
        <a:p>
          <a:pPr algn="ctr"/>
          <a:endParaRPr lang="en-US" sz="2000"/>
        </a:p>
      </dgm:t>
    </dgm:pt>
    <dgm:pt modelId="{21738C05-9E8D-4E65-B1F8-229ECCEADE6B}">
      <dgm:prSet phldrT="[Text]" custT="1"/>
      <dgm:spPr>
        <a:blipFill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r>
            <a:rPr lang="en-US">
              <a:noFill/>
            </a:rPr>
            <a:t> </a:t>
          </a:r>
        </a:p>
      </dgm:t>
    </dgm:pt>
    <dgm:pt modelId="{383E47AF-841B-42FE-988A-AEE610E8F193}" type="parTrans" cxnId="{BD9F7A07-F429-4E82-BDBB-471B3835A988}">
      <dgm:prSet/>
      <dgm:spPr/>
      <dgm:t>
        <a:bodyPr/>
        <a:lstStyle/>
        <a:p>
          <a:pPr algn="ctr"/>
          <a:endParaRPr lang="en-US" sz="2000"/>
        </a:p>
      </dgm:t>
    </dgm:pt>
    <dgm:pt modelId="{EB4F6901-3E34-4097-B65F-EF6605ABA1D2}" type="sibTrans" cxnId="{BD9F7A07-F429-4E82-BDBB-471B3835A988}">
      <dgm:prSet/>
      <dgm:spPr/>
      <dgm:t>
        <a:bodyPr/>
        <a:lstStyle/>
        <a:p>
          <a:pPr algn="ctr"/>
          <a:endParaRPr lang="en-US" sz="2000"/>
        </a:p>
      </dgm:t>
    </dgm:pt>
    <dgm:pt modelId="{7924AFAA-77B4-4FEF-94FC-643AD84A310B}">
      <dgm:prSet phldrT="[Text]" custT="1"/>
      <dgm:spPr/>
      <dgm:t>
        <a:bodyPr/>
        <a:lstStyle/>
        <a:p>
          <a:pPr algn="ctr"/>
          <a:r>
            <a:rPr lang="en-US" sz="1200"/>
            <a:t>Individuals with chronic medical conditions: cardiac, pumonary, renal, liver diseases or immunosuppression</a:t>
          </a:r>
        </a:p>
      </dgm:t>
    </dgm:pt>
    <dgm:pt modelId="{F0EC03E6-EA12-4B8D-A74C-79FDABC30A6D}" type="parTrans" cxnId="{E086E00B-FABD-44A1-84A8-E33D98C6B780}">
      <dgm:prSet/>
      <dgm:spPr/>
      <dgm:t>
        <a:bodyPr/>
        <a:lstStyle/>
        <a:p>
          <a:pPr algn="ctr"/>
          <a:endParaRPr lang="en-US" sz="2000"/>
        </a:p>
      </dgm:t>
    </dgm:pt>
    <dgm:pt modelId="{B4A23048-3E48-49CB-845A-2BBD98FD4779}" type="sibTrans" cxnId="{E086E00B-FABD-44A1-84A8-E33D98C6B780}">
      <dgm:prSet/>
      <dgm:spPr/>
      <dgm:t>
        <a:bodyPr/>
        <a:lstStyle/>
        <a:p>
          <a:pPr algn="ctr"/>
          <a:endParaRPr lang="en-US" sz="2000"/>
        </a:p>
      </dgm:t>
    </dgm:pt>
    <dgm:pt modelId="{1AC0B376-F0BE-4881-9F49-33168642C017}">
      <dgm:prSet phldrT="[Text]" custT="1"/>
      <dgm:spPr/>
      <dgm:t>
        <a:bodyPr/>
        <a:lstStyle/>
        <a:p>
          <a:pPr algn="ctr"/>
          <a:r>
            <a:rPr lang="en-US" sz="1200"/>
            <a:t>Pregnant women (any stage of pregnancy)</a:t>
          </a:r>
        </a:p>
      </dgm:t>
    </dgm:pt>
    <dgm:pt modelId="{8065F35F-4DA9-4A7E-999A-5D05E874E9F2}" type="parTrans" cxnId="{C8E0CF94-729C-4AB9-950D-2D879AFC00FB}">
      <dgm:prSet/>
      <dgm:spPr/>
      <dgm:t>
        <a:bodyPr/>
        <a:lstStyle/>
        <a:p>
          <a:pPr algn="ctr"/>
          <a:endParaRPr lang="en-US" sz="2000"/>
        </a:p>
      </dgm:t>
    </dgm:pt>
    <dgm:pt modelId="{D1C10049-3204-49FF-97D9-58573BFB6506}" type="sibTrans" cxnId="{C8E0CF94-729C-4AB9-950D-2D879AFC00FB}">
      <dgm:prSet/>
      <dgm:spPr/>
      <dgm:t>
        <a:bodyPr/>
        <a:lstStyle/>
        <a:p>
          <a:pPr algn="ctr"/>
          <a:endParaRPr lang="en-US" sz="2000"/>
        </a:p>
      </dgm:t>
    </dgm:pt>
    <dgm:pt modelId="{B11228CD-948F-4D3A-A97E-8B4332001A7D}">
      <dgm:prSet phldrT="[Text]" custT="1"/>
      <dgm:spPr/>
      <dgm:t>
        <a:bodyPr/>
        <a:lstStyle/>
        <a:p>
          <a:pPr algn="ctr"/>
          <a:r>
            <a:rPr lang="en-US" sz="1200"/>
            <a:t>Healthcare workers</a:t>
          </a:r>
        </a:p>
      </dgm:t>
    </dgm:pt>
    <dgm:pt modelId="{E6B63E9E-8C3E-4B53-84E0-C40A872C3AC3}" type="parTrans" cxnId="{E92F7EBD-417A-4078-B7B7-A4552F981DF2}">
      <dgm:prSet/>
      <dgm:spPr/>
      <dgm:t>
        <a:bodyPr/>
        <a:lstStyle/>
        <a:p>
          <a:pPr algn="ctr"/>
          <a:endParaRPr lang="en-US" sz="2000"/>
        </a:p>
      </dgm:t>
    </dgm:pt>
    <dgm:pt modelId="{110CDF36-E4BB-4689-B7B5-5782B22E4680}" type="sibTrans" cxnId="{E92F7EBD-417A-4078-B7B7-A4552F981DF2}">
      <dgm:prSet/>
      <dgm:spPr/>
      <dgm:t>
        <a:bodyPr/>
        <a:lstStyle/>
        <a:p>
          <a:pPr algn="ctr"/>
          <a:endParaRPr lang="en-US" sz="2000"/>
        </a:p>
      </dgm:t>
    </dgm:pt>
    <dgm:pt modelId="{31A3087A-D27D-4A45-9A8F-F124FC7621B0}">
      <dgm:prSet phldrT="[Text]" custT="1"/>
      <dgm:spPr/>
      <dgm:t>
        <a:bodyPr/>
        <a:lstStyle/>
        <a:p>
          <a:pPr algn="ctr"/>
          <a:r>
            <a:rPr lang="en-US" sz="1200" b="0" i="0"/>
            <a:t>People from certain racial and ethnic minority groups</a:t>
          </a:r>
          <a:endParaRPr lang="en-US" sz="1200"/>
        </a:p>
      </dgm:t>
    </dgm:pt>
    <dgm:pt modelId="{45774299-8513-431B-BE4E-1BEC60727795}" type="parTrans" cxnId="{EF22B42B-ED39-4E02-A11A-28E4305A8813}">
      <dgm:prSet/>
      <dgm:spPr/>
      <dgm:t>
        <a:bodyPr/>
        <a:lstStyle/>
        <a:p>
          <a:endParaRPr lang="en-US" sz="2000"/>
        </a:p>
      </dgm:t>
    </dgm:pt>
    <dgm:pt modelId="{0E1A5951-5225-4030-B35C-7B2AC04AFE10}" type="sibTrans" cxnId="{EF22B42B-ED39-4E02-A11A-28E4305A8813}">
      <dgm:prSet/>
      <dgm:spPr/>
      <dgm:t>
        <a:bodyPr/>
        <a:lstStyle/>
        <a:p>
          <a:endParaRPr lang="en-US" sz="2000"/>
        </a:p>
      </dgm:t>
    </dgm:pt>
    <dgm:pt modelId="{F4814DA5-B4FE-4396-97D0-8073E309815D}" type="pres">
      <dgm:prSet presAssocID="{80B7D13A-9B5C-4852-A21E-202A416BEB2A}" presName="Name0" presStyleCnt="0">
        <dgm:presLayoutVars>
          <dgm:chMax val="7"/>
          <dgm:chPref val="7"/>
          <dgm:dir/>
        </dgm:presLayoutVars>
      </dgm:prSet>
      <dgm:spPr/>
    </dgm:pt>
    <dgm:pt modelId="{B3A3673B-47BB-4482-84F0-3785D0746D1C}" type="pres">
      <dgm:prSet presAssocID="{80B7D13A-9B5C-4852-A21E-202A416BEB2A}" presName="Name1" presStyleCnt="0"/>
      <dgm:spPr/>
    </dgm:pt>
    <dgm:pt modelId="{45333501-D92C-441C-B152-6FF44405521C}" type="pres">
      <dgm:prSet presAssocID="{80B7D13A-9B5C-4852-A21E-202A416BEB2A}" presName="cycle" presStyleCnt="0"/>
      <dgm:spPr/>
    </dgm:pt>
    <dgm:pt modelId="{69A8782F-0047-475A-89FF-0A63B714929D}" type="pres">
      <dgm:prSet presAssocID="{80B7D13A-9B5C-4852-A21E-202A416BEB2A}" presName="srcNode" presStyleLbl="node1" presStyleIdx="0" presStyleCnt="6"/>
      <dgm:spPr/>
    </dgm:pt>
    <dgm:pt modelId="{7C8A654D-DE5E-4682-B928-6D54DDA5E0B7}" type="pres">
      <dgm:prSet presAssocID="{80B7D13A-9B5C-4852-A21E-202A416BEB2A}" presName="conn" presStyleLbl="parChTrans1D2" presStyleIdx="0" presStyleCnt="1"/>
      <dgm:spPr/>
    </dgm:pt>
    <dgm:pt modelId="{67A5FDB0-82A1-44D7-A6F0-2122DDCC0A08}" type="pres">
      <dgm:prSet presAssocID="{80B7D13A-9B5C-4852-A21E-202A416BEB2A}" presName="extraNode" presStyleLbl="node1" presStyleIdx="0" presStyleCnt="6"/>
      <dgm:spPr/>
    </dgm:pt>
    <dgm:pt modelId="{BF1DB8E7-6FC4-4796-96F1-328F6C5642C7}" type="pres">
      <dgm:prSet presAssocID="{80B7D13A-9B5C-4852-A21E-202A416BEB2A}" presName="dstNode" presStyleLbl="node1" presStyleIdx="0" presStyleCnt="6"/>
      <dgm:spPr/>
    </dgm:pt>
    <dgm:pt modelId="{DD4DD5CC-C975-454B-98A7-DD326EC52DDC}" type="pres">
      <dgm:prSet presAssocID="{C7DCF4A9-9766-4FFC-8661-093F16DA9089}" presName="text_1" presStyleLbl="node1" presStyleIdx="0" presStyleCnt="6" custScaleY="108872">
        <dgm:presLayoutVars>
          <dgm:bulletEnabled val="1"/>
        </dgm:presLayoutVars>
      </dgm:prSet>
      <dgm:spPr/>
    </dgm:pt>
    <dgm:pt modelId="{7B775187-A21A-48FC-B2E3-D1AB6E32D510}" type="pres">
      <dgm:prSet presAssocID="{C7DCF4A9-9766-4FFC-8661-093F16DA9089}" presName="accent_1" presStyleCnt="0"/>
      <dgm:spPr/>
    </dgm:pt>
    <dgm:pt modelId="{13E9C2B0-07FE-4138-B0F8-63E4DA09A54D}" type="pres">
      <dgm:prSet presAssocID="{C7DCF4A9-9766-4FFC-8661-093F16DA9089}" presName="accentRepeatNode" presStyleLbl="solidFgAcc1" presStyleIdx="0" presStyleCnt="6"/>
      <dgm:spPr/>
    </dgm:pt>
    <dgm:pt modelId="{38DC82A8-0913-41DE-A5DA-508897BDF9ED}" type="pres">
      <dgm:prSet presAssocID="{21738C05-9E8D-4E65-B1F8-229ECCEADE6B}" presName="text_2" presStyleLbl="node1" presStyleIdx="1" presStyleCnt="6" custScaleY="108872">
        <dgm:presLayoutVars>
          <dgm:bulletEnabled val="1"/>
        </dgm:presLayoutVars>
      </dgm:prSet>
      <dgm:spPr/>
    </dgm:pt>
    <dgm:pt modelId="{DEF46EDE-30F2-40F1-B139-33500BFD7890}" type="pres">
      <dgm:prSet presAssocID="{21738C05-9E8D-4E65-B1F8-229ECCEADE6B}" presName="accent_2" presStyleCnt="0"/>
      <dgm:spPr/>
    </dgm:pt>
    <dgm:pt modelId="{076B7251-EA0A-40F1-9787-AFA2449413B2}" type="pres">
      <dgm:prSet presAssocID="{21738C05-9E8D-4E65-B1F8-229ECCEADE6B}" presName="accentRepeatNode" presStyleLbl="solidFgAcc1" presStyleIdx="1" presStyleCnt="6"/>
      <dgm:spPr/>
    </dgm:pt>
    <dgm:pt modelId="{418B1C1B-289B-47A1-81C5-308E6485443C}" type="pres">
      <dgm:prSet presAssocID="{7924AFAA-77B4-4FEF-94FC-643AD84A310B}" presName="text_3" presStyleLbl="node1" presStyleIdx="2" presStyleCnt="6" custScaleY="108872">
        <dgm:presLayoutVars>
          <dgm:bulletEnabled val="1"/>
        </dgm:presLayoutVars>
      </dgm:prSet>
      <dgm:spPr/>
    </dgm:pt>
    <dgm:pt modelId="{EC45E27B-E0F1-4AC0-AFAD-DDED92BC2B71}" type="pres">
      <dgm:prSet presAssocID="{7924AFAA-77B4-4FEF-94FC-643AD84A310B}" presName="accent_3" presStyleCnt="0"/>
      <dgm:spPr/>
    </dgm:pt>
    <dgm:pt modelId="{39833D49-F2F1-4EE7-B64E-E6618BEA23FE}" type="pres">
      <dgm:prSet presAssocID="{7924AFAA-77B4-4FEF-94FC-643AD84A310B}" presName="accentRepeatNode" presStyleLbl="solidFgAcc1" presStyleIdx="2" presStyleCnt="6"/>
      <dgm:spPr/>
    </dgm:pt>
    <dgm:pt modelId="{0C902770-AEDD-4EE6-9269-FEF5B5F3F26C}" type="pres">
      <dgm:prSet presAssocID="{1AC0B376-F0BE-4881-9F49-33168642C017}" presName="text_4" presStyleLbl="node1" presStyleIdx="3" presStyleCnt="6" custScaleY="108872">
        <dgm:presLayoutVars>
          <dgm:bulletEnabled val="1"/>
        </dgm:presLayoutVars>
      </dgm:prSet>
      <dgm:spPr/>
    </dgm:pt>
    <dgm:pt modelId="{94F5D469-DA3A-4C93-824F-18A0F7C7A228}" type="pres">
      <dgm:prSet presAssocID="{1AC0B376-F0BE-4881-9F49-33168642C017}" presName="accent_4" presStyleCnt="0"/>
      <dgm:spPr/>
    </dgm:pt>
    <dgm:pt modelId="{F6003A19-B998-4333-9FCD-C38D7483F5D5}" type="pres">
      <dgm:prSet presAssocID="{1AC0B376-F0BE-4881-9F49-33168642C017}" presName="accentRepeatNode" presStyleLbl="solidFgAcc1" presStyleIdx="3" presStyleCnt="6"/>
      <dgm:spPr/>
    </dgm:pt>
    <dgm:pt modelId="{FDC3BAC2-A67D-4A78-8857-85E77EDF90DB}" type="pres">
      <dgm:prSet presAssocID="{31A3087A-D27D-4A45-9A8F-F124FC7621B0}" presName="text_5" presStyleLbl="node1" presStyleIdx="4" presStyleCnt="6" custScaleY="108872">
        <dgm:presLayoutVars>
          <dgm:bulletEnabled val="1"/>
        </dgm:presLayoutVars>
      </dgm:prSet>
      <dgm:spPr/>
    </dgm:pt>
    <dgm:pt modelId="{EBA514EA-4139-4C27-AC58-72C875940303}" type="pres">
      <dgm:prSet presAssocID="{31A3087A-D27D-4A45-9A8F-F124FC7621B0}" presName="accent_5" presStyleCnt="0"/>
      <dgm:spPr/>
    </dgm:pt>
    <dgm:pt modelId="{20209C6E-9BD3-4F99-9C03-0AF706BB7F96}" type="pres">
      <dgm:prSet presAssocID="{31A3087A-D27D-4A45-9A8F-F124FC7621B0}" presName="accentRepeatNode" presStyleLbl="solidFgAcc1" presStyleIdx="4" presStyleCnt="6"/>
      <dgm:spPr/>
    </dgm:pt>
    <dgm:pt modelId="{ABAF5F7E-F047-42DB-A22C-4B4E289FE285}" type="pres">
      <dgm:prSet presAssocID="{B11228CD-948F-4D3A-A97E-8B4332001A7D}" presName="text_6" presStyleLbl="node1" presStyleIdx="5" presStyleCnt="6" custScaleY="108872">
        <dgm:presLayoutVars>
          <dgm:bulletEnabled val="1"/>
        </dgm:presLayoutVars>
      </dgm:prSet>
      <dgm:spPr/>
    </dgm:pt>
    <dgm:pt modelId="{F998D32B-FA9E-4F1F-B3E7-3906779BC2C0}" type="pres">
      <dgm:prSet presAssocID="{B11228CD-948F-4D3A-A97E-8B4332001A7D}" presName="accent_6" presStyleCnt="0"/>
      <dgm:spPr/>
    </dgm:pt>
    <dgm:pt modelId="{64198239-8126-4467-A417-7E020EFCF804}" type="pres">
      <dgm:prSet presAssocID="{B11228CD-948F-4D3A-A97E-8B4332001A7D}" presName="accentRepeatNode" presStyleLbl="solidFgAcc1" presStyleIdx="5" presStyleCnt="6"/>
      <dgm:spPr/>
    </dgm:pt>
  </dgm:ptLst>
  <dgm:cxnLst>
    <dgm:cxn modelId="{BD9F7A07-F429-4E82-BDBB-471B3835A988}" srcId="{80B7D13A-9B5C-4852-A21E-202A416BEB2A}" destId="{21738C05-9E8D-4E65-B1F8-229ECCEADE6B}" srcOrd="1" destOrd="0" parTransId="{383E47AF-841B-42FE-988A-AEE610E8F193}" sibTransId="{EB4F6901-3E34-4097-B65F-EF6605ABA1D2}"/>
    <dgm:cxn modelId="{E086E00B-FABD-44A1-84A8-E33D98C6B780}" srcId="{80B7D13A-9B5C-4852-A21E-202A416BEB2A}" destId="{7924AFAA-77B4-4FEF-94FC-643AD84A310B}" srcOrd="2" destOrd="0" parTransId="{F0EC03E6-EA12-4B8D-A74C-79FDABC30A6D}" sibTransId="{B4A23048-3E48-49CB-845A-2BBD98FD4779}"/>
    <dgm:cxn modelId="{65AB7B0C-692B-4D93-875C-B567B4AB3DDB}" type="presOf" srcId="{1AC0B376-F0BE-4881-9F49-33168642C017}" destId="{0C902770-AEDD-4EE6-9269-FEF5B5F3F26C}" srcOrd="0" destOrd="0" presId="urn:microsoft.com/office/officeart/2008/layout/VerticalCurvedList"/>
    <dgm:cxn modelId="{9354BC16-5886-4B79-8C9B-A3892AD86A5D}" type="presOf" srcId="{80B7D13A-9B5C-4852-A21E-202A416BEB2A}" destId="{F4814DA5-B4FE-4396-97D0-8073E309815D}" srcOrd="0" destOrd="0" presId="urn:microsoft.com/office/officeart/2008/layout/VerticalCurvedList"/>
    <dgm:cxn modelId="{D3C10F1B-5151-4ADB-A4E7-647F308DE5D8}" type="presOf" srcId="{C7DCF4A9-9766-4FFC-8661-093F16DA9089}" destId="{DD4DD5CC-C975-454B-98A7-DD326EC52DDC}" srcOrd="0" destOrd="0" presId="urn:microsoft.com/office/officeart/2008/layout/VerticalCurvedList"/>
    <dgm:cxn modelId="{49972E29-5E4F-4B70-B2A0-09E3F5747AE0}" srcId="{80B7D13A-9B5C-4852-A21E-202A416BEB2A}" destId="{C7DCF4A9-9766-4FFC-8661-093F16DA9089}" srcOrd="0" destOrd="0" parTransId="{BEA52597-1E85-4248-8F8B-3A75886A004F}" sibTransId="{DFFE5BA0-58CA-477F-A699-12429098C0B2}"/>
    <dgm:cxn modelId="{EF22B42B-ED39-4E02-A11A-28E4305A8813}" srcId="{80B7D13A-9B5C-4852-A21E-202A416BEB2A}" destId="{31A3087A-D27D-4A45-9A8F-F124FC7621B0}" srcOrd="4" destOrd="0" parTransId="{45774299-8513-431B-BE4E-1BEC60727795}" sibTransId="{0E1A5951-5225-4030-B35C-7B2AC04AFE10}"/>
    <dgm:cxn modelId="{C051FB35-B48B-4081-9615-FB031FFA0C0C}" type="presOf" srcId="{B11228CD-948F-4D3A-A97E-8B4332001A7D}" destId="{ABAF5F7E-F047-42DB-A22C-4B4E289FE285}" srcOrd="0" destOrd="0" presId="urn:microsoft.com/office/officeart/2008/layout/VerticalCurvedList"/>
    <dgm:cxn modelId="{2001265B-DEA8-4134-90E9-0A9F0106BCBE}" type="presOf" srcId="{21738C05-9E8D-4E65-B1F8-229ECCEADE6B}" destId="{38DC82A8-0913-41DE-A5DA-508897BDF9ED}" srcOrd="0" destOrd="0" presId="urn:microsoft.com/office/officeart/2008/layout/VerticalCurvedList"/>
    <dgm:cxn modelId="{BE1D606F-DD2D-4E68-8CF1-57CA976912E8}" type="presOf" srcId="{31A3087A-D27D-4A45-9A8F-F124FC7621B0}" destId="{FDC3BAC2-A67D-4A78-8857-85E77EDF90DB}" srcOrd="0" destOrd="0" presId="urn:microsoft.com/office/officeart/2008/layout/VerticalCurvedList"/>
    <dgm:cxn modelId="{C8E0CF94-729C-4AB9-950D-2D879AFC00FB}" srcId="{80B7D13A-9B5C-4852-A21E-202A416BEB2A}" destId="{1AC0B376-F0BE-4881-9F49-33168642C017}" srcOrd="3" destOrd="0" parTransId="{8065F35F-4DA9-4A7E-999A-5D05E874E9F2}" sibTransId="{D1C10049-3204-49FF-97D9-58573BFB6506}"/>
    <dgm:cxn modelId="{225205B0-0927-479C-820B-A865FBEA46D1}" type="presOf" srcId="{7924AFAA-77B4-4FEF-94FC-643AD84A310B}" destId="{418B1C1B-289B-47A1-81C5-308E6485443C}" srcOrd="0" destOrd="0" presId="urn:microsoft.com/office/officeart/2008/layout/VerticalCurvedList"/>
    <dgm:cxn modelId="{E92F7EBD-417A-4078-B7B7-A4552F981DF2}" srcId="{80B7D13A-9B5C-4852-A21E-202A416BEB2A}" destId="{B11228CD-948F-4D3A-A97E-8B4332001A7D}" srcOrd="5" destOrd="0" parTransId="{E6B63E9E-8C3E-4B53-84E0-C40A872C3AC3}" sibTransId="{110CDF36-E4BB-4689-B7B5-5782B22E4680}"/>
    <dgm:cxn modelId="{ED5B22C8-D14C-4052-AB83-59878F8F6800}" type="presOf" srcId="{DFFE5BA0-58CA-477F-A699-12429098C0B2}" destId="{7C8A654D-DE5E-4682-B928-6D54DDA5E0B7}" srcOrd="0" destOrd="0" presId="urn:microsoft.com/office/officeart/2008/layout/VerticalCurvedList"/>
    <dgm:cxn modelId="{27442820-7F0D-4303-86C4-D1560CF1D0CE}" type="presParOf" srcId="{F4814DA5-B4FE-4396-97D0-8073E309815D}" destId="{B3A3673B-47BB-4482-84F0-3785D0746D1C}" srcOrd="0" destOrd="0" presId="urn:microsoft.com/office/officeart/2008/layout/VerticalCurvedList"/>
    <dgm:cxn modelId="{6F5CAB2C-7770-4052-B16B-E0806169F427}" type="presParOf" srcId="{B3A3673B-47BB-4482-84F0-3785D0746D1C}" destId="{45333501-D92C-441C-B152-6FF44405521C}" srcOrd="0" destOrd="0" presId="urn:microsoft.com/office/officeart/2008/layout/VerticalCurvedList"/>
    <dgm:cxn modelId="{DC1387DA-AFFB-4A54-983D-7D5C0F059172}" type="presParOf" srcId="{45333501-D92C-441C-B152-6FF44405521C}" destId="{69A8782F-0047-475A-89FF-0A63B714929D}" srcOrd="0" destOrd="0" presId="urn:microsoft.com/office/officeart/2008/layout/VerticalCurvedList"/>
    <dgm:cxn modelId="{57E571A5-A706-4F9A-B5D7-39C094331103}" type="presParOf" srcId="{45333501-D92C-441C-B152-6FF44405521C}" destId="{7C8A654D-DE5E-4682-B928-6D54DDA5E0B7}" srcOrd="1" destOrd="0" presId="urn:microsoft.com/office/officeart/2008/layout/VerticalCurvedList"/>
    <dgm:cxn modelId="{6E832368-FA02-4FDD-8F71-AB63373096D8}" type="presParOf" srcId="{45333501-D92C-441C-B152-6FF44405521C}" destId="{67A5FDB0-82A1-44D7-A6F0-2122DDCC0A08}" srcOrd="2" destOrd="0" presId="urn:microsoft.com/office/officeart/2008/layout/VerticalCurvedList"/>
    <dgm:cxn modelId="{E500401E-5D18-4383-AF4B-C3A5EEE93FBF}" type="presParOf" srcId="{45333501-D92C-441C-B152-6FF44405521C}" destId="{BF1DB8E7-6FC4-4796-96F1-328F6C5642C7}" srcOrd="3" destOrd="0" presId="urn:microsoft.com/office/officeart/2008/layout/VerticalCurvedList"/>
    <dgm:cxn modelId="{7C05D7E2-6BB3-4366-82C6-74A326F85324}" type="presParOf" srcId="{B3A3673B-47BB-4482-84F0-3785D0746D1C}" destId="{DD4DD5CC-C975-454B-98A7-DD326EC52DDC}" srcOrd="1" destOrd="0" presId="urn:microsoft.com/office/officeart/2008/layout/VerticalCurvedList"/>
    <dgm:cxn modelId="{298DDD23-060E-43E3-A619-24364DC5A88D}" type="presParOf" srcId="{B3A3673B-47BB-4482-84F0-3785D0746D1C}" destId="{7B775187-A21A-48FC-B2E3-D1AB6E32D510}" srcOrd="2" destOrd="0" presId="urn:microsoft.com/office/officeart/2008/layout/VerticalCurvedList"/>
    <dgm:cxn modelId="{AAFA703C-B30F-44BC-A5DE-DF4C232C231F}" type="presParOf" srcId="{7B775187-A21A-48FC-B2E3-D1AB6E32D510}" destId="{13E9C2B0-07FE-4138-B0F8-63E4DA09A54D}" srcOrd="0" destOrd="0" presId="urn:microsoft.com/office/officeart/2008/layout/VerticalCurvedList"/>
    <dgm:cxn modelId="{13226EFC-62B5-4765-AF4C-85BA63398250}" type="presParOf" srcId="{B3A3673B-47BB-4482-84F0-3785D0746D1C}" destId="{38DC82A8-0913-41DE-A5DA-508897BDF9ED}" srcOrd="3" destOrd="0" presId="urn:microsoft.com/office/officeart/2008/layout/VerticalCurvedList"/>
    <dgm:cxn modelId="{BA2767E7-8362-4823-9A13-18DBCC1290F1}" type="presParOf" srcId="{B3A3673B-47BB-4482-84F0-3785D0746D1C}" destId="{DEF46EDE-30F2-40F1-B139-33500BFD7890}" srcOrd="4" destOrd="0" presId="urn:microsoft.com/office/officeart/2008/layout/VerticalCurvedList"/>
    <dgm:cxn modelId="{E11FBF86-97E4-4078-8F7D-CE36017CD1AC}" type="presParOf" srcId="{DEF46EDE-30F2-40F1-B139-33500BFD7890}" destId="{076B7251-EA0A-40F1-9787-AFA2449413B2}" srcOrd="0" destOrd="0" presId="urn:microsoft.com/office/officeart/2008/layout/VerticalCurvedList"/>
    <dgm:cxn modelId="{6E6F422C-254D-4FB4-9A59-C28843F43766}" type="presParOf" srcId="{B3A3673B-47BB-4482-84F0-3785D0746D1C}" destId="{418B1C1B-289B-47A1-81C5-308E6485443C}" srcOrd="5" destOrd="0" presId="urn:microsoft.com/office/officeart/2008/layout/VerticalCurvedList"/>
    <dgm:cxn modelId="{FEDA6354-1045-4A9B-A188-23EAFCEFE386}" type="presParOf" srcId="{B3A3673B-47BB-4482-84F0-3785D0746D1C}" destId="{EC45E27B-E0F1-4AC0-AFAD-DDED92BC2B71}" srcOrd="6" destOrd="0" presId="urn:microsoft.com/office/officeart/2008/layout/VerticalCurvedList"/>
    <dgm:cxn modelId="{CD9FCE7D-8107-49D7-A9FA-1DB6609FF4AE}" type="presParOf" srcId="{EC45E27B-E0F1-4AC0-AFAD-DDED92BC2B71}" destId="{39833D49-F2F1-4EE7-B64E-E6618BEA23FE}" srcOrd="0" destOrd="0" presId="urn:microsoft.com/office/officeart/2008/layout/VerticalCurvedList"/>
    <dgm:cxn modelId="{381CF010-BA0A-4063-84A6-29CFEC131F00}" type="presParOf" srcId="{B3A3673B-47BB-4482-84F0-3785D0746D1C}" destId="{0C902770-AEDD-4EE6-9269-FEF5B5F3F26C}" srcOrd="7" destOrd="0" presId="urn:microsoft.com/office/officeart/2008/layout/VerticalCurvedList"/>
    <dgm:cxn modelId="{C0C37383-E934-48E4-A99F-3850369550BE}" type="presParOf" srcId="{B3A3673B-47BB-4482-84F0-3785D0746D1C}" destId="{94F5D469-DA3A-4C93-824F-18A0F7C7A228}" srcOrd="8" destOrd="0" presId="urn:microsoft.com/office/officeart/2008/layout/VerticalCurvedList"/>
    <dgm:cxn modelId="{7616757C-450C-41E2-9CE8-E59D96CE99C2}" type="presParOf" srcId="{94F5D469-DA3A-4C93-824F-18A0F7C7A228}" destId="{F6003A19-B998-4333-9FCD-C38D7483F5D5}" srcOrd="0" destOrd="0" presId="urn:microsoft.com/office/officeart/2008/layout/VerticalCurvedList"/>
    <dgm:cxn modelId="{535755B8-8459-484F-912F-2A3A7B65612E}" type="presParOf" srcId="{B3A3673B-47BB-4482-84F0-3785D0746D1C}" destId="{FDC3BAC2-A67D-4A78-8857-85E77EDF90DB}" srcOrd="9" destOrd="0" presId="urn:microsoft.com/office/officeart/2008/layout/VerticalCurvedList"/>
    <dgm:cxn modelId="{4EBE85FB-DFE4-4DF4-8E6E-3799DE3A44CC}" type="presParOf" srcId="{B3A3673B-47BB-4482-84F0-3785D0746D1C}" destId="{EBA514EA-4139-4C27-AC58-72C875940303}" srcOrd="10" destOrd="0" presId="urn:microsoft.com/office/officeart/2008/layout/VerticalCurvedList"/>
    <dgm:cxn modelId="{50A97AC9-3E2C-4907-9796-538177074962}" type="presParOf" srcId="{EBA514EA-4139-4C27-AC58-72C875940303}" destId="{20209C6E-9BD3-4F99-9C03-0AF706BB7F96}" srcOrd="0" destOrd="0" presId="urn:microsoft.com/office/officeart/2008/layout/VerticalCurvedList"/>
    <dgm:cxn modelId="{62EDFC27-DAF4-4CAC-A88A-A1C83517179A}" type="presParOf" srcId="{B3A3673B-47BB-4482-84F0-3785D0746D1C}" destId="{ABAF5F7E-F047-42DB-A22C-4B4E289FE285}" srcOrd="11" destOrd="0" presId="urn:microsoft.com/office/officeart/2008/layout/VerticalCurvedList"/>
    <dgm:cxn modelId="{CA1740FF-1AAF-4E6D-8717-EE6BCEBD9A40}" type="presParOf" srcId="{B3A3673B-47BB-4482-84F0-3785D0746D1C}" destId="{F998D32B-FA9E-4F1F-B3E7-3906779BC2C0}" srcOrd="12" destOrd="0" presId="urn:microsoft.com/office/officeart/2008/layout/VerticalCurvedList"/>
    <dgm:cxn modelId="{54E6598D-5069-422C-BC0E-AE09F69F12C8}" type="presParOf" srcId="{F998D32B-FA9E-4F1F-B3E7-3906779BC2C0}" destId="{64198239-8126-4467-A417-7E020EFCF80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8A654D-DE5E-4682-B928-6D54DDA5E0B7}">
      <dsp:nvSpPr>
        <dsp:cNvPr id="0" name=""/>
        <dsp:cNvSpPr/>
      </dsp:nvSpPr>
      <dsp:spPr>
        <a:xfrm>
          <a:off x="-3963895" y="-608564"/>
          <a:ext cx="4723898" cy="4723898"/>
        </a:xfrm>
        <a:prstGeom prst="blockArc">
          <a:avLst>
            <a:gd name="adj1" fmla="val 18900000"/>
            <a:gd name="adj2" fmla="val 2700000"/>
            <a:gd name="adj3" fmla="val 457"/>
          </a:avLst>
        </a:prstGeom>
        <a:noFill/>
        <a:ln w="635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4DD5CC-C975-454B-98A7-DD326EC52DDC}">
      <dsp:nvSpPr>
        <dsp:cNvPr id="0" name=""/>
        <dsp:cNvSpPr/>
      </dsp:nvSpPr>
      <dsp:spPr>
        <a:xfrm>
          <a:off x="284302" y="168289"/>
          <a:ext cx="5404955" cy="401947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3047" tIns="30480" rIns="30480" bIns="3048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Children 6 months to 5 years old</a:t>
          </a:r>
        </a:p>
      </dsp:txBody>
      <dsp:txXfrm>
        <a:off x="284302" y="168289"/>
        <a:ext cx="5404955" cy="401947"/>
      </dsp:txXfrm>
    </dsp:sp>
    <dsp:sp modelId="{13E9C2B0-07FE-4138-B0F8-63E4DA09A54D}">
      <dsp:nvSpPr>
        <dsp:cNvPr id="0" name=""/>
        <dsp:cNvSpPr/>
      </dsp:nvSpPr>
      <dsp:spPr>
        <a:xfrm>
          <a:off x="53557" y="138517"/>
          <a:ext cx="461490" cy="4614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DC82A8-0913-41DE-A5DA-508897BDF9ED}">
      <dsp:nvSpPr>
        <dsp:cNvPr id="0" name=""/>
        <dsp:cNvSpPr/>
      </dsp:nvSpPr>
      <dsp:spPr>
        <a:xfrm>
          <a:off x="587988" y="722008"/>
          <a:ext cx="5101269" cy="401947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-151039"/>
                <a:satOff val="-18914"/>
                <a:lumOff val="943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-151039"/>
                <a:satOff val="-18914"/>
                <a:lumOff val="943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-151039"/>
                <a:satOff val="-18914"/>
                <a:lumOff val="943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3047" tIns="30480" rIns="30480" bIns="3048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lderly </a:t>
          </a:r>
          <a14:m xmlns:a14="http://schemas.microsoft.com/office/drawing/2010/main">
            <m:oMath xmlns:m="http://schemas.openxmlformats.org/officeDocument/2006/math">
              <m:r>
                <a:rPr lang="en-US" sz="1200" i="1" kern="1200">
                  <a:latin typeface="Cambria Math" panose="02040503050406030204" pitchFamily="18" charset="0"/>
                  <a:ea typeface="Cambria Math" panose="02040503050406030204" pitchFamily="18" charset="0"/>
                </a:rPr>
                <m:t>≥</m:t>
              </m:r>
            </m:oMath>
          </a14:m>
          <a:r>
            <a:rPr lang="en-US" sz="1200" kern="1200"/>
            <a:t> 65 years</a:t>
          </a:r>
        </a:p>
      </dsp:txBody>
      <dsp:txXfrm>
        <a:off x="587988" y="722008"/>
        <a:ext cx="5101269" cy="401947"/>
      </dsp:txXfrm>
    </dsp:sp>
    <dsp:sp modelId="{076B7251-EA0A-40F1-9787-AFA2449413B2}">
      <dsp:nvSpPr>
        <dsp:cNvPr id="0" name=""/>
        <dsp:cNvSpPr/>
      </dsp:nvSpPr>
      <dsp:spPr>
        <a:xfrm>
          <a:off x="357243" y="692236"/>
          <a:ext cx="461490" cy="4614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shade val="80000"/>
              <a:hueOff val="-151039"/>
              <a:satOff val="-18914"/>
              <a:lumOff val="9438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8B1C1B-289B-47A1-81C5-308E6485443C}">
      <dsp:nvSpPr>
        <dsp:cNvPr id="0" name=""/>
        <dsp:cNvSpPr/>
      </dsp:nvSpPr>
      <dsp:spPr>
        <a:xfrm>
          <a:off x="726857" y="1275727"/>
          <a:ext cx="4962401" cy="401947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-302079"/>
                <a:satOff val="-37829"/>
                <a:lumOff val="1887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-302079"/>
                <a:satOff val="-37829"/>
                <a:lumOff val="1887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-302079"/>
                <a:satOff val="-37829"/>
                <a:lumOff val="1887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3047" tIns="30480" rIns="30480" bIns="3048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Individuals with chronic medical conditions: cardiac, pumonary, renal, liver diseases or immunosuppression</a:t>
          </a:r>
        </a:p>
      </dsp:txBody>
      <dsp:txXfrm>
        <a:off x="726857" y="1275727"/>
        <a:ext cx="4962401" cy="401947"/>
      </dsp:txXfrm>
    </dsp:sp>
    <dsp:sp modelId="{39833D49-F2F1-4EE7-B64E-E6618BEA23FE}">
      <dsp:nvSpPr>
        <dsp:cNvPr id="0" name=""/>
        <dsp:cNvSpPr/>
      </dsp:nvSpPr>
      <dsp:spPr>
        <a:xfrm>
          <a:off x="496111" y="1245955"/>
          <a:ext cx="461490" cy="4614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shade val="80000"/>
              <a:hueOff val="-302079"/>
              <a:satOff val="-37829"/>
              <a:lumOff val="18876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902770-AEDD-4EE6-9269-FEF5B5F3F26C}">
      <dsp:nvSpPr>
        <dsp:cNvPr id="0" name=""/>
        <dsp:cNvSpPr/>
      </dsp:nvSpPr>
      <dsp:spPr>
        <a:xfrm>
          <a:off x="726857" y="1829095"/>
          <a:ext cx="4962401" cy="401947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-453118"/>
                <a:satOff val="-56743"/>
                <a:lumOff val="2831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-453118"/>
                <a:satOff val="-56743"/>
                <a:lumOff val="2831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-453118"/>
                <a:satOff val="-56743"/>
                <a:lumOff val="2831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3047" tIns="30480" rIns="30480" bIns="3048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Pregnant women (any stage of pregnancy)</a:t>
          </a:r>
        </a:p>
      </dsp:txBody>
      <dsp:txXfrm>
        <a:off x="726857" y="1829095"/>
        <a:ext cx="4962401" cy="401947"/>
      </dsp:txXfrm>
    </dsp:sp>
    <dsp:sp modelId="{F6003A19-B998-4333-9FCD-C38D7483F5D5}">
      <dsp:nvSpPr>
        <dsp:cNvPr id="0" name=""/>
        <dsp:cNvSpPr/>
      </dsp:nvSpPr>
      <dsp:spPr>
        <a:xfrm>
          <a:off x="496111" y="1799323"/>
          <a:ext cx="461490" cy="4614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shade val="80000"/>
              <a:hueOff val="-453118"/>
              <a:satOff val="-56743"/>
              <a:lumOff val="28315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C3BAC2-A67D-4A78-8857-85E77EDF90DB}">
      <dsp:nvSpPr>
        <dsp:cNvPr id="0" name=""/>
        <dsp:cNvSpPr/>
      </dsp:nvSpPr>
      <dsp:spPr>
        <a:xfrm>
          <a:off x="587988" y="2382814"/>
          <a:ext cx="5101269" cy="401947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-604158"/>
                <a:satOff val="-75658"/>
                <a:lumOff val="3775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-604158"/>
                <a:satOff val="-75658"/>
                <a:lumOff val="3775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-604158"/>
                <a:satOff val="-75658"/>
                <a:lumOff val="3775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3047" tIns="30480" rIns="30480" bIns="3048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i="0" kern="1200"/>
            <a:t>People from certain racial and ethnic minority groups</a:t>
          </a:r>
          <a:endParaRPr lang="en-US" sz="1200" kern="1200"/>
        </a:p>
      </dsp:txBody>
      <dsp:txXfrm>
        <a:off x="587988" y="2382814"/>
        <a:ext cx="5101269" cy="401947"/>
      </dsp:txXfrm>
    </dsp:sp>
    <dsp:sp modelId="{20209C6E-9BD3-4F99-9C03-0AF706BB7F96}">
      <dsp:nvSpPr>
        <dsp:cNvPr id="0" name=""/>
        <dsp:cNvSpPr/>
      </dsp:nvSpPr>
      <dsp:spPr>
        <a:xfrm>
          <a:off x="357243" y="2353042"/>
          <a:ext cx="461490" cy="4614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shade val="80000"/>
              <a:hueOff val="-604158"/>
              <a:satOff val="-75658"/>
              <a:lumOff val="37753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AF5F7E-F047-42DB-A22C-4B4E289FE285}">
      <dsp:nvSpPr>
        <dsp:cNvPr id="0" name=""/>
        <dsp:cNvSpPr/>
      </dsp:nvSpPr>
      <dsp:spPr>
        <a:xfrm>
          <a:off x="284302" y="2936533"/>
          <a:ext cx="5404955" cy="401947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-755197"/>
                <a:satOff val="-94572"/>
                <a:lumOff val="4719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-755197"/>
                <a:satOff val="-94572"/>
                <a:lumOff val="4719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-755197"/>
                <a:satOff val="-94572"/>
                <a:lumOff val="4719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3047" tIns="30480" rIns="30480" bIns="3048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Healthcare workers</a:t>
          </a:r>
        </a:p>
      </dsp:txBody>
      <dsp:txXfrm>
        <a:off x="284302" y="2936533"/>
        <a:ext cx="5404955" cy="401947"/>
      </dsp:txXfrm>
    </dsp:sp>
    <dsp:sp modelId="{64198239-8126-4467-A417-7E020EFCF804}">
      <dsp:nvSpPr>
        <dsp:cNvPr id="0" name=""/>
        <dsp:cNvSpPr/>
      </dsp:nvSpPr>
      <dsp:spPr>
        <a:xfrm>
          <a:off x="53557" y="2906761"/>
          <a:ext cx="461490" cy="4614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shade val="80000"/>
              <a:hueOff val="-755197"/>
              <a:satOff val="-94572"/>
              <a:lumOff val="47191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A70B15-C708-4319-9FEB-A5EE21CD9EAF}" type="datetimeFigureOut">
              <a:rPr lang="en-US" smtClean="0"/>
              <a:t>7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F052A5-A8BF-4387-A927-B2FF5C3D9D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9939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F052A5-A8BF-4387-A927-B2FF5C3D9D3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7712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Q: Are the strains matching up with the confirmed influenza cases? (Control the messag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F052A5-A8BF-4387-A927-B2FF5C3D9D3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5715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Q: Why are egg and non-egg strains different? Who is VRBPAC? When did recommendation occur?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F052A5-A8BF-4387-A927-B2FF5C3D9D3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092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F052A5-A8BF-4387-A927-B2FF5C3D9D3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1735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F052A5-A8BF-4387-A927-B2FF5C3D9D3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597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3.bin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5.bin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7.bin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5569CE8B-04AF-468F-B800-7ECF09FD6C9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15443" y="2970600"/>
            <a:ext cx="3561116" cy="916800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A862ADC4-857D-4471-A871-BD1A38FB23C1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3473CDDD-9034-4972-B890-4C267C13F06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FA4CC508-0E53-4122-BCBD-4E37F1B71C30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149166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Dark)">
    <p:bg>
      <p:bgPr>
        <a:solidFill>
          <a:srgbClr val="1E0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8963" y="4159250"/>
            <a:ext cx="1271271" cy="1257300"/>
          </a:xfrm>
          <a:prstGeom prst="rect">
            <a:avLst/>
          </a:prstGeom>
        </p:spPr>
      </p:pic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3200" b="1" noProof="0" dirty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26F07BC6-BD1D-4953-9F45-D190CB67B2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443199"/>
          </a:xfrm>
        </p:spPr>
        <p:txBody>
          <a:bodyPr/>
          <a:lstStyle>
            <a:lvl1pPr>
              <a:lnSpc>
                <a:spcPct val="90000"/>
              </a:lnSpc>
              <a:defRPr lang="fr-FR" sz="3200" b="1" i="0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1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0" kern="1200" cap="all" baseline="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46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702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.Cover_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984036"/>
            <a:ext cx="9144000" cy="889928"/>
          </a:xfrm>
        </p:spPr>
        <p:txBody>
          <a:bodyPr anchor="ctr">
            <a:normAutofit/>
          </a:bodyPr>
          <a:lstStyle>
            <a:lvl1pPr algn="ctr">
              <a:defRPr sz="5333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hank you</a:t>
            </a:r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04203E6E-75E4-45E4-AF05-51E86DA008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98571" y="6035600"/>
            <a:ext cx="994856" cy="254848"/>
          </a:xfrm>
          <a:prstGeom prst="rect">
            <a:avLst/>
          </a:prstGeom>
        </p:spPr>
      </p:pic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1445" y="4346936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1445" y="2362265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</p:spTree>
    <p:extLst>
      <p:ext uri="{BB962C8B-B14F-4D97-AF65-F5344CB8AC3E}">
        <p14:creationId xmlns:p14="http://schemas.microsoft.com/office/powerpoint/2010/main" val="341453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EC20B0-A7A2-4E48-B3B3-C7F5CED2C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0699D7-114F-40E1-A138-4589EB30F6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AF2835-7E8F-4DA6-958D-D6B11F76D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9B56FA-22C0-49B7-9F1B-AC9BD23F1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583089-B260-4A5E-9375-29A4984728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B94A94-FEDF-4A43-B8A3-A61D966416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0841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7702729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733" b="0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</a:t>
            </a:r>
            <a:r>
              <a:rPr lang="en-US" err="1"/>
              <a:t>texte</a:t>
            </a:r>
            <a:r>
              <a:rPr lang="en-US"/>
              <a:t> - 1 </a:t>
            </a:r>
            <a:r>
              <a:rPr lang="en-US" err="1"/>
              <a:t>colonne</a:t>
            </a:r>
            <a:r>
              <a:rPr lang="en-US"/>
              <a:t>, corps 28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8" y="1777408"/>
            <a:ext cx="11226801" cy="4483693"/>
          </a:xfrm>
        </p:spPr>
        <p:txBody>
          <a:bodyPr/>
          <a:lstStyle>
            <a:lvl1pPr>
              <a:defRPr baseline="0"/>
            </a:lvl1pPr>
            <a:lvl3pPr marL="537607" indent="-177792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err="1"/>
              <a:t>Texte</a:t>
            </a:r>
            <a:r>
              <a:rPr lang="en-US"/>
              <a:t> 1er </a:t>
            </a:r>
            <a:r>
              <a:rPr lang="en-US" err="1"/>
              <a:t>niveau</a:t>
            </a:r>
            <a:r>
              <a:rPr lang="en-US"/>
              <a:t>, corps 18</a:t>
            </a:r>
          </a:p>
          <a:p>
            <a:pPr lvl="1"/>
            <a:r>
              <a:rPr lang="en-US" err="1"/>
              <a:t>Texte</a:t>
            </a:r>
            <a:r>
              <a:rPr lang="en-US"/>
              <a:t> 2e </a:t>
            </a:r>
            <a:r>
              <a:rPr lang="en-US" err="1"/>
              <a:t>niveau</a:t>
            </a:r>
            <a:r>
              <a:rPr lang="en-US"/>
              <a:t>, corps 16</a:t>
            </a:r>
          </a:p>
          <a:p>
            <a:pPr lvl="2"/>
            <a:r>
              <a:rPr lang="en-US" err="1"/>
              <a:t>Texte</a:t>
            </a:r>
            <a:r>
              <a:rPr lang="en-US"/>
              <a:t> 3e </a:t>
            </a:r>
            <a:r>
              <a:rPr lang="en-US" err="1"/>
              <a:t>niveau</a:t>
            </a:r>
            <a:r>
              <a:rPr lang="en-US"/>
              <a:t>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8" y="950402"/>
            <a:ext cx="11226801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82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/>
              <a:t>Sous-</a:t>
            </a:r>
            <a:r>
              <a:rPr lang="en-US" err="1"/>
              <a:t>titre</a:t>
            </a:r>
            <a:r>
              <a:rPr lang="en-US"/>
              <a:t>, corps 22</a:t>
            </a:r>
          </a:p>
        </p:txBody>
      </p:sp>
    </p:spTree>
    <p:extLst>
      <p:ext uri="{BB962C8B-B14F-4D97-AF65-F5344CB8AC3E}">
        <p14:creationId xmlns:p14="http://schemas.microsoft.com/office/powerpoint/2010/main" val="1756142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5" y="364800"/>
            <a:ext cx="112272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8" y="1777408"/>
            <a:ext cx="11226801" cy="4483693"/>
          </a:xfrm>
        </p:spPr>
        <p:txBody>
          <a:bodyPr/>
          <a:lstStyle>
            <a:lvl1pPr>
              <a:defRPr baseline="0"/>
            </a:lvl1pPr>
            <a:lvl3pPr marL="537607" indent="-177792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7" y="950402"/>
            <a:ext cx="11227200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>
                    <a:lumMod val="75000"/>
                  </a:schemeClr>
                </a:solidFill>
              </a:defRPr>
            </a:lvl1pPr>
            <a:lvl2pPr marL="355582" indent="0">
              <a:buNone/>
              <a:defRPr/>
            </a:lvl2pPr>
            <a:lvl3pPr marL="914354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975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787140" y="6052567"/>
            <a:ext cx="8040793" cy="546753"/>
          </a:xfrm>
        </p:spPr>
        <p:txBody>
          <a:bodyPr wrap="square">
            <a:spAutoFit/>
          </a:bodyPr>
          <a:lstStyle>
            <a:lvl1pPr marL="0" indent="0" algn="r">
              <a:buNone/>
              <a:defRPr sz="3200" b="0"/>
            </a:lvl1pPr>
          </a:lstStyle>
          <a:p>
            <a:pPr lvl="0"/>
            <a:r>
              <a:rPr lang="fr-FR"/>
              <a:t>Sous-titre, corps 24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174400"/>
          </a:xfrm>
        </p:spPr>
        <p:txBody>
          <a:bodyPr/>
          <a:lstStyle/>
          <a:p>
            <a:r>
              <a:rPr lang="fr-FR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87140" y="5424000"/>
            <a:ext cx="8035531" cy="590931"/>
          </a:xfrm>
        </p:spPr>
        <p:txBody>
          <a:bodyPr anchor="b"/>
          <a:lstStyle>
            <a:lvl1pPr algn="r">
              <a:defRPr sz="4267">
                <a:solidFill>
                  <a:schemeClr val="tx2"/>
                </a:solidFill>
              </a:defRPr>
            </a:lvl1pPr>
          </a:lstStyle>
          <a:p>
            <a:r>
              <a:rPr lang="fr-FR"/>
              <a:t>Titre de la présentation, corps 32</a:t>
            </a:r>
            <a:endParaRPr lang="en-US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3572424" y="5505577"/>
            <a:ext cx="0" cy="10032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84" y="5822955"/>
            <a:ext cx="2969683" cy="368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980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6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6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r>
              <a:rPr lang="en-GB">
                <a:solidFill>
                  <a:prstClr val="black"/>
                </a:solidFill>
              </a:rPr>
              <a:t>MAT-US-2204959-v1.0-07/202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F0BA068-1033-4806-90CD-026B5BC61057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02848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512064" y="1709928"/>
            <a:ext cx="11074400" cy="472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2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10E4B5-99E3-4895-8AD9-909B4720FB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99732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450" y="291113"/>
            <a:ext cx="10579101" cy="85010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42434" y="1535113"/>
            <a:ext cx="5154084" cy="639763"/>
          </a:xfrm>
        </p:spPr>
        <p:txBody>
          <a:bodyPr anchor="b"/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42434" y="2174876"/>
            <a:ext cx="5154084" cy="3702397"/>
          </a:xfrm>
        </p:spPr>
        <p:txBody>
          <a:bodyPr/>
          <a:lstStyle>
            <a:lvl1pPr>
              <a:defRPr sz="2400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228167" cy="639763"/>
          </a:xfrm>
        </p:spPr>
        <p:txBody>
          <a:bodyPr anchor="b"/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9" y="2174876"/>
            <a:ext cx="5228167" cy="3702397"/>
          </a:xfrm>
        </p:spPr>
        <p:txBody>
          <a:bodyPr/>
          <a:lstStyle>
            <a:lvl1pPr>
              <a:defRPr sz="2400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noProof="0"/>
              <a:t>MAT-US-2204959-v1.0-07/2022</a:t>
            </a:r>
          </a:p>
        </p:txBody>
      </p:sp>
      <p:sp>
        <p:nvSpPr>
          <p:cNvPr id="8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noProof="0"/>
              <a:t>|</a:t>
            </a:r>
            <a:r>
              <a:rPr lang="en-US" sz="1200" baseline="16000" noProof="0"/>
              <a:t>         </a:t>
            </a:r>
            <a:fld id="{BD6100F0-77BB-4F2B-A55A-CAD0381ED89F}" type="slidenum">
              <a:rPr lang="en-US" noProof="0"/>
              <a:pPr>
                <a:defRPr/>
              </a:pPr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9421384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anofi at a gl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2136850"/>
              </p:ext>
            </p:extLst>
          </p:nvPr>
        </p:nvGraphicFramePr>
        <p:xfrm>
          <a:off x="2122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213" y="226363"/>
            <a:ext cx="11697168" cy="369332"/>
          </a:xfrm>
        </p:spPr>
        <p:txBody>
          <a:bodyPr/>
          <a:lstStyle>
            <a:lvl1pPr>
              <a:defRPr sz="2667" i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1603" y="1203843"/>
            <a:ext cx="5257799" cy="2363724"/>
          </a:xfrm>
        </p:spPr>
        <p:txBody>
          <a:bodyPr/>
          <a:lstStyle>
            <a:lvl1pPr>
              <a:defRPr sz="2667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646464"/>
                </a:solidFill>
              </a:rPr>
              <a:t>MAT-US-2204959-v1.0-07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>
              <a:solidFill>
                <a:srgbClr val="646464"/>
              </a:solidFill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5" hasCustomPrompt="1"/>
          </p:nvPr>
        </p:nvSpPr>
        <p:spPr>
          <a:xfrm>
            <a:off x="259197" y="610056"/>
            <a:ext cx="11711131" cy="295465"/>
          </a:xfrm>
        </p:spPr>
        <p:txBody>
          <a:bodyPr/>
          <a:lstStyle>
            <a:lvl1pPr>
              <a:defRPr sz="2133" i="1"/>
            </a:lvl1pPr>
          </a:lstStyle>
          <a:p>
            <a:pPr lvl="0"/>
            <a:r>
              <a:rPr lang="fr-FR" err="1"/>
              <a:t>Sub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2939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ve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B3CF0ECB-30FF-45DD-8A41-5DF28038CBA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" y="0"/>
            <a:ext cx="12191999" cy="6858000"/>
          </a:xfrm>
          <a:custGeom>
            <a:avLst/>
            <a:gdLst>
              <a:gd name="connsiteX0" fmla="*/ 351363 w 9143999"/>
              <a:gd name="connsiteY0" fmla="*/ 4913481 h 5143500"/>
              <a:gd name="connsiteX1" fmla="*/ 331613 w 9143999"/>
              <a:gd name="connsiteY1" fmla="*/ 4933530 h 5143500"/>
              <a:gd name="connsiteX2" fmla="*/ 352237 w 9143999"/>
              <a:gd name="connsiteY2" fmla="*/ 4953582 h 5143500"/>
              <a:gd name="connsiteX3" fmla="*/ 371987 w 9143999"/>
              <a:gd name="connsiteY3" fmla="*/ 4933533 h 5143500"/>
              <a:gd name="connsiteX4" fmla="*/ 351363 w 9143999"/>
              <a:gd name="connsiteY4" fmla="*/ 4913481 h 5143500"/>
              <a:gd name="connsiteX5" fmla="*/ 892593 w 9143999"/>
              <a:gd name="connsiteY5" fmla="*/ 4837587 h 5143500"/>
              <a:gd name="connsiteX6" fmla="*/ 917846 w 9143999"/>
              <a:gd name="connsiteY6" fmla="*/ 4847631 h 5143500"/>
              <a:gd name="connsiteX7" fmla="*/ 927648 w 9143999"/>
              <a:gd name="connsiteY7" fmla="*/ 4877990 h 5143500"/>
              <a:gd name="connsiteX8" fmla="*/ 918100 w 9143999"/>
              <a:gd name="connsiteY8" fmla="*/ 4908353 h 5143500"/>
              <a:gd name="connsiteX9" fmla="*/ 894866 w 9143999"/>
              <a:gd name="connsiteY9" fmla="*/ 4918277 h 5143500"/>
              <a:gd name="connsiteX10" fmla="*/ 868933 w 9143999"/>
              <a:gd name="connsiteY10" fmla="*/ 4908080 h 5143500"/>
              <a:gd name="connsiteX11" fmla="*/ 859062 w 9143999"/>
              <a:gd name="connsiteY11" fmla="*/ 4877877 h 5143500"/>
              <a:gd name="connsiteX12" fmla="*/ 868678 w 9143999"/>
              <a:gd name="connsiteY12" fmla="*/ 4847677 h 5143500"/>
              <a:gd name="connsiteX13" fmla="*/ 559057 w 9143999"/>
              <a:gd name="connsiteY13" fmla="*/ 4837499 h 5143500"/>
              <a:gd name="connsiteX14" fmla="*/ 578336 w 9143999"/>
              <a:gd name="connsiteY14" fmla="*/ 4840021 h 5143500"/>
              <a:gd name="connsiteX15" fmla="*/ 585643 w 9143999"/>
              <a:gd name="connsiteY15" fmla="*/ 4847817 h 5143500"/>
              <a:gd name="connsiteX16" fmla="*/ 585643 w 9143999"/>
              <a:gd name="connsiteY16" fmla="*/ 4907937 h 5143500"/>
              <a:gd name="connsiteX17" fmla="*/ 578336 w 9143999"/>
              <a:gd name="connsiteY17" fmla="*/ 4915741 h 5143500"/>
              <a:gd name="connsiteX18" fmla="*/ 558605 w 9143999"/>
              <a:gd name="connsiteY18" fmla="*/ 4918322 h 5143500"/>
              <a:gd name="connsiteX19" fmla="*/ 534559 w 9143999"/>
              <a:gd name="connsiteY19" fmla="*/ 4909442 h 5143500"/>
              <a:gd name="connsiteX20" fmla="*/ 523519 w 9143999"/>
              <a:gd name="connsiteY20" fmla="*/ 4877990 h 5143500"/>
              <a:gd name="connsiteX21" fmla="*/ 534559 w 9143999"/>
              <a:gd name="connsiteY21" fmla="*/ 4846542 h 5143500"/>
              <a:gd name="connsiteX22" fmla="*/ 1101680 w 9143999"/>
              <a:gd name="connsiteY22" fmla="*/ 4805359 h 5143500"/>
              <a:gd name="connsiteX23" fmla="*/ 1095864 w 9143999"/>
              <a:gd name="connsiteY23" fmla="*/ 4811167 h 5143500"/>
              <a:gd name="connsiteX24" fmla="*/ 1095864 w 9143999"/>
              <a:gd name="connsiteY24" fmla="*/ 4944812 h 5143500"/>
              <a:gd name="connsiteX25" fmla="*/ 1101680 w 9143999"/>
              <a:gd name="connsiteY25" fmla="*/ 4950628 h 5143500"/>
              <a:gd name="connsiteX26" fmla="*/ 1127823 w 9143999"/>
              <a:gd name="connsiteY26" fmla="*/ 4950628 h 5143500"/>
              <a:gd name="connsiteX27" fmla="*/ 1128318 w 9143999"/>
              <a:gd name="connsiteY27" fmla="*/ 4950134 h 5143500"/>
              <a:gd name="connsiteX28" fmla="*/ 1130431 w 9143999"/>
              <a:gd name="connsiteY28" fmla="*/ 4950134 h 5143500"/>
              <a:gd name="connsiteX29" fmla="*/ 1136285 w 9143999"/>
              <a:gd name="connsiteY29" fmla="*/ 4944348 h 5143500"/>
              <a:gd name="connsiteX30" fmla="*/ 1136285 w 9143999"/>
              <a:gd name="connsiteY30" fmla="*/ 4811405 h 5143500"/>
              <a:gd name="connsiteX31" fmla="*/ 1130431 w 9143999"/>
              <a:gd name="connsiteY31" fmla="*/ 4805627 h 5143500"/>
              <a:gd name="connsiteX32" fmla="*/ 1128092 w 9143999"/>
              <a:gd name="connsiteY32" fmla="*/ 4805627 h 5143500"/>
              <a:gd name="connsiteX33" fmla="*/ 1127823 w 9143999"/>
              <a:gd name="connsiteY33" fmla="*/ 4805359 h 5143500"/>
              <a:gd name="connsiteX34" fmla="*/ 891920 w 9143999"/>
              <a:gd name="connsiteY34" fmla="*/ 4802455 h 5143500"/>
              <a:gd name="connsiteX35" fmla="*/ 819859 w 9143999"/>
              <a:gd name="connsiteY35" fmla="*/ 4877990 h 5143500"/>
              <a:gd name="connsiteX36" fmla="*/ 893949 w 9143999"/>
              <a:gd name="connsiteY36" fmla="*/ 4953533 h 5143500"/>
              <a:gd name="connsiteX37" fmla="*/ 923593 w 9143999"/>
              <a:gd name="connsiteY37" fmla="*/ 4947899 h 5143500"/>
              <a:gd name="connsiteX38" fmla="*/ 924071 w 9143999"/>
              <a:gd name="connsiteY38" fmla="*/ 4947569 h 5143500"/>
              <a:gd name="connsiteX39" fmla="*/ 924870 w 9143999"/>
              <a:gd name="connsiteY39" fmla="*/ 4947419 h 5143500"/>
              <a:gd name="connsiteX40" fmla="*/ 967553 w 9143999"/>
              <a:gd name="connsiteY40" fmla="*/ 4877877 h 5143500"/>
              <a:gd name="connsiteX41" fmla="*/ 924008 w 9143999"/>
              <a:gd name="connsiteY41" fmla="*/ 4808342 h 5143500"/>
              <a:gd name="connsiteX42" fmla="*/ 922787 w 9143999"/>
              <a:gd name="connsiteY42" fmla="*/ 4808121 h 5143500"/>
              <a:gd name="connsiteX43" fmla="*/ 922737 w 9143999"/>
              <a:gd name="connsiteY43" fmla="*/ 4808088 h 5143500"/>
              <a:gd name="connsiteX44" fmla="*/ 891920 w 9143999"/>
              <a:gd name="connsiteY44" fmla="*/ 4802455 h 5143500"/>
              <a:gd name="connsiteX45" fmla="*/ 725443 w 9143999"/>
              <a:gd name="connsiteY45" fmla="*/ 4802455 h 5143500"/>
              <a:gd name="connsiteX46" fmla="*/ 667045 w 9143999"/>
              <a:gd name="connsiteY46" fmla="*/ 4812907 h 5143500"/>
              <a:gd name="connsiteX47" fmla="*/ 666933 w 9143999"/>
              <a:gd name="connsiteY47" fmla="*/ 4813086 h 5143500"/>
              <a:gd name="connsiteX48" fmla="*/ 666650 w 9143999"/>
              <a:gd name="connsiteY48" fmla="*/ 4813136 h 5143500"/>
              <a:gd name="connsiteX49" fmla="*/ 659335 w 9143999"/>
              <a:gd name="connsiteY49" fmla="*/ 4824699 h 5143500"/>
              <a:gd name="connsiteX50" fmla="*/ 659335 w 9143999"/>
              <a:gd name="connsiteY50" fmla="*/ 4944348 h 5143500"/>
              <a:gd name="connsiteX51" fmla="*/ 659777 w 9143999"/>
              <a:gd name="connsiteY51" fmla="*/ 4944785 h 5143500"/>
              <a:gd name="connsiteX52" fmla="*/ 659777 w 9143999"/>
              <a:gd name="connsiteY52" fmla="*/ 4944812 h 5143500"/>
              <a:gd name="connsiteX53" fmla="*/ 665593 w 9143999"/>
              <a:gd name="connsiteY53" fmla="*/ 4950628 h 5143500"/>
              <a:gd name="connsiteX54" fmla="*/ 691736 w 9143999"/>
              <a:gd name="connsiteY54" fmla="*/ 4950628 h 5143500"/>
              <a:gd name="connsiteX55" fmla="*/ 697552 w 9143999"/>
              <a:gd name="connsiteY55" fmla="*/ 4944812 h 5143500"/>
              <a:gd name="connsiteX56" fmla="*/ 697552 w 9143999"/>
              <a:gd name="connsiteY56" fmla="*/ 4847194 h 5143500"/>
              <a:gd name="connsiteX57" fmla="*/ 704448 w 9143999"/>
              <a:gd name="connsiteY57" fmla="*/ 4839717 h 5143500"/>
              <a:gd name="connsiteX58" fmla="*/ 726010 w 9143999"/>
              <a:gd name="connsiteY58" fmla="*/ 4837419 h 5143500"/>
              <a:gd name="connsiteX59" fmla="*/ 746013 w 9143999"/>
              <a:gd name="connsiteY59" fmla="*/ 4843168 h 5143500"/>
              <a:gd name="connsiteX60" fmla="*/ 754202 w 9143999"/>
              <a:gd name="connsiteY60" fmla="*/ 4862009 h 5143500"/>
              <a:gd name="connsiteX61" fmla="*/ 754202 w 9143999"/>
              <a:gd name="connsiteY61" fmla="*/ 4944812 h 5143500"/>
              <a:gd name="connsiteX62" fmla="*/ 760018 w 9143999"/>
              <a:gd name="connsiteY62" fmla="*/ 4950628 h 5143500"/>
              <a:gd name="connsiteX63" fmla="*/ 786160 w 9143999"/>
              <a:gd name="connsiteY63" fmla="*/ 4950628 h 5143500"/>
              <a:gd name="connsiteX64" fmla="*/ 791976 w 9143999"/>
              <a:gd name="connsiteY64" fmla="*/ 4944812 h 5143500"/>
              <a:gd name="connsiteX65" fmla="*/ 791976 w 9143999"/>
              <a:gd name="connsiteY65" fmla="*/ 4944762 h 5143500"/>
              <a:gd name="connsiteX66" fmla="*/ 792395 w 9143999"/>
              <a:gd name="connsiteY66" fmla="*/ 4944348 h 5143500"/>
              <a:gd name="connsiteX67" fmla="*/ 792395 w 9143999"/>
              <a:gd name="connsiteY67" fmla="*/ 4857065 h 5143500"/>
              <a:gd name="connsiteX68" fmla="*/ 775798 w 9143999"/>
              <a:gd name="connsiteY68" fmla="*/ 4816682 h 5143500"/>
              <a:gd name="connsiteX69" fmla="*/ 775543 w 9143999"/>
              <a:gd name="connsiteY69" fmla="*/ 4816611 h 5143500"/>
              <a:gd name="connsiteX70" fmla="*/ 775486 w 9143999"/>
              <a:gd name="connsiteY70" fmla="*/ 4816471 h 5143500"/>
              <a:gd name="connsiteX71" fmla="*/ 725443 w 9143999"/>
              <a:gd name="connsiteY71" fmla="*/ 4802455 h 5143500"/>
              <a:gd name="connsiteX72" fmla="*/ 559834 w 9143999"/>
              <a:gd name="connsiteY72" fmla="*/ 4802455 h 5143500"/>
              <a:gd name="connsiteX73" fmla="*/ 529662 w 9143999"/>
              <a:gd name="connsiteY73" fmla="*/ 4807762 h 5143500"/>
              <a:gd name="connsiteX74" fmla="*/ 529594 w 9143999"/>
              <a:gd name="connsiteY74" fmla="*/ 4807805 h 5143500"/>
              <a:gd name="connsiteX75" fmla="*/ 528372 w 9143999"/>
              <a:gd name="connsiteY75" fmla="*/ 4808018 h 5143500"/>
              <a:gd name="connsiteX76" fmla="*/ 483586 w 9143999"/>
              <a:gd name="connsiteY76" fmla="*/ 4877877 h 5143500"/>
              <a:gd name="connsiteX77" fmla="*/ 526397 w 9143999"/>
              <a:gd name="connsiteY77" fmla="*/ 4947825 h 5143500"/>
              <a:gd name="connsiteX78" fmla="*/ 527142 w 9143999"/>
              <a:gd name="connsiteY78" fmla="*/ 4947947 h 5143500"/>
              <a:gd name="connsiteX79" fmla="*/ 527700 w 9143999"/>
              <a:gd name="connsiteY79" fmla="*/ 4948307 h 5143500"/>
              <a:gd name="connsiteX80" fmla="*/ 559257 w 9143999"/>
              <a:gd name="connsiteY80" fmla="*/ 4953533 h 5143500"/>
              <a:gd name="connsiteX81" fmla="*/ 617069 w 9143999"/>
              <a:gd name="connsiteY81" fmla="*/ 4941908 h 5143500"/>
              <a:gd name="connsiteX82" fmla="*/ 624337 w 9143999"/>
              <a:gd name="connsiteY82" fmla="*/ 4930284 h 5143500"/>
              <a:gd name="connsiteX83" fmla="*/ 624337 w 9143999"/>
              <a:gd name="connsiteY83" fmla="*/ 4824821 h 5143500"/>
              <a:gd name="connsiteX84" fmla="*/ 617069 w 9143999"/>
              <a:gd name="connsiteY84" fmla="*/ 4813204 h 5143500"/>
              <a:gd name="connsiteX85" fmla="*/ 559834 w 9143999"/>
              <a:gd name="connsiteY85" fmla="*/ 4802455 h 5143500"/>
              <a:gd name="connsiteX86" fmla="*/ 398011 w 9143999"/>
              <a:gd name="connsiteY86" fmla="*/ 4801292 h 5143500"/>
              <a:gd name="connsiteX87" fmla="*/ 395922 w 9143999"/>
              <a:gd name="connsiteY87" fmla="*/ 4801589 h 5143500"/>
              <a:gd name="connsiteX88" fmla="*/ 395863 w 9143999"/>
              <a:gd name="connsiteY88" fmla="*/ 4801582 h 5143500"/>
              <a:gd name="connsiteX89" fmla="*/ 331528 w 9143999"/>
              <a:gd name="connsiteY89" fmla="*/ 4853603 h 5143500"/>
              <a:gd name="connsiteX90" fmla="*/ 425688 w 9143999"/>
              <a:gd name="connsiteY90" fmla="*/ 4933656 h 5143500"/>
              <a:gd name="connsiteX91" fmla="*/ 423936 w 9143999"/>
              <a:gd name="connsiteY91" fmla="*/ 4944348 h 5143500"/>
              <a:gd name="connsiteX92" fmla="*/ 423645 w 9143999"/>
              <a:gd name="connsiteY92" fmla="*/ 4946089 h 5143500"/>
              <a:gd name="connsiteX93" fmla="*/ 428029 w 9143999"/>
              <a:gd name="connsiteY93" fmla="*/ 4950134 h 5143500"/>
              <a:gd name="connsiteX94" fmla="*/ 429440 w 9143999"/>
              <a:gd name="connsiteY94" fmla="*/ 4950134 h 5143500"/>
              <a:gd name="connsiteX95" fmla="*/ 429969 w 9143999"/>
              <a:gd name="connsiteY95" fmla="*/ 4950628 h 5143500"/>
              <a:gd name="connsiteX96" fmla="*/ 456121 w 9143999"/>
              <a:gd name="connsiteY96" fmla="*/ 4950628 h 5143500"/>
              <a:gd name="connsiteX97" fmla="*/ 463668 w 9143999"/>
              <a:gd name="connsiteY97" fmla="*/ 4944812 h 5143500"/>
              <a:gd name="connsiteX98" fmla="*/ 465995 w 9143999"/>
              <a:gd name="connsiteY98" fmla="*/ 4928255 h 5143500"/>
              <a:gd name="connsiteX99" fmla="*/ 372445 w 9143999"/>
              <a:gd name="connsiteY99" fmla="*/ 4850972 h 5143500"/>
              <a:gd name="connsiteX100" fmla="*/ 378874 w 9143999"/>
              <a:gd name="connsiteY100" fmla="*/ 4840371 h 5143500"/>
              <a:gd name="connsiteX101" fmla="*/ 395404 w 9143999"/>
              <a:gd name="connsiteY101" fmla="*/ 4836760 h 5143500"/>
              <a:gd name="connsiteX102" fmla="*/ 438848 w 9143999"/>
              <a:gd name="connsiteY102" fmla="*/ 4849557 h 5143500"/>
              <a:gd name="connsiteX103" fmla="*/ 443232 w 9143999"/>
              <a:gd name="connsiteY103" fmla="*/ 4850714 h 5143500"/>
              <a:gd name="connsiteX104" fmla="*/ 443815 w 9143999"/>
              <a:gd name="connsiteY104" fmla="*/ 4850347 h 5143500"/>
              <a:gd name="connsiteX105" fmla="*/ 445074 w 9143999"/>
              <a:gd name="connsiteY105" fmla="*/ 4850684 h 5143500"/>
              <a:gd name="connsiteX106" fmla="*/ 451467 w 9143999"/>
              <a:gd name="connsiteY106" fmla="*/ 4846616 h 5143500"/>
              <a:gd name="connsiteX107" fmla="*/ 460476 w 9143999"/>
              <a:gd name="connsiteY107" fmla="*/ 4827435 h 5143500"/>
              <a:gd name="connsiteX108" fmla="*/ 461639 w 9143999"/>
              <a:gd name="connsiteY108" fmla="*/ 4822502 h 5143500"/>
              <a:gd name="connsiteX109" fmla="*/ 458150 w 9143999"/>
              <a:gd name="connsiteY109" fmla="*/ 4816686 h 5143500"/>
              <a:gd name="connsiteX110" fmla="*/ 398011 w 9143999"/>
              <a:gd name="connsiteY110" fmla="*/ 4801292 h 5143500"/>
              <a:gd name="connsiteX111" fmla="*/ 1053743 w 9143999"/>
              <a:gd name="connsiteY111" fmla="*/ 4747249 h 5143500"/>
              <a:gd name="connsiteX112" fmla="*/ 994181 w 9143999"/>
              <a:gd name="connsiteY112" fmla="*/ 4808264 h 5143500"/>
              <a:gd name="connsiteX113" fmla="*/ 994181 w 9143999"/>
              <a:gd name="connsiteY113" fmla="*/ 4944812 h 5143500"/>
              <a:gd name="connsiteX114" fmla="*/ 999997 w 9143999"/>
              <a:gd name="connsiteY114" fmla="*/ 4950628 h 5143500"/>
              <a:gd name="connsiteX115" fmla="*/ 1025851 w 9143999"/>
              <a:gd name="connsiteY115" fmla="*/ 4950628 h 5143500"/>
              <a:gd name="connsiteX116" fmla="*/ 1026345 w 9143999"/>
              <a:gd name="connsiteY116" fmla="*/ 4950134 h 5143500"/>
              <a:gd name="connsiteX117" fmla="*/ 1027794 w 9143999"/>
              <a:gd name="connsiteY117" fmla="*/ 4950134 h 5143500"/>
              <a:gd name="connsiteX118" fmla="*/ 1033639 w 9143999"/>
              <a:gd name="connsiteY118" fmla="*/ 4944348 h 5143500"/>
              <a:gd name="connsiteX119" fmla="*/ 1033639 w 9143999"/>
              <a:gd name="connsiteY119" fmla="*/ 4837419 h 5143500"/>
              <a:gd name="connsiteX120" fmla="*/ 1070780 w 9143999"/>
              <a:gd name="connsiteY120" fmla="*/ 4837419 h 5143500"/>
              <a:gd name="connsiteX121" fmla="*/ 1076625 w 9143999"/>
              <a:gd name="connsiteY121" fmla="*/ 4831634 h 5143500"/>
              <a:gd name="connsiteX122" fmla="*/ 1076625 w 9143999"/>
              <a:gd name="connsiteY122" fmla="*/ 4811692 h 5143500"/>
              <a:gd name="connsiteX123" fmla="*/ 1070780 w 9143999"/>
              <a:gd name="connsiteY123" fmla="*/ 4805627 h 5143500"/>
              <a:gd name="connsiteX124" fmla="*/ 1068815 w 9143999"/>
              <a:gd name="connsiteY124" fmla="*/ 4805627 h 5143500"/>
              <a:gd name="connsiteX125" fmla="*/ 1068559 w 9143999"/>
              <a:gd name="connsiteY125" fmla="*/ 4805359 h 5143500"/>
              <a:gd name="connsiteX126" fmla="*/ 1033639 w 9143999"/>
              <a:gd name="connsiteY126" fmla="*/ 4805359 h 5143500"/>
              <a:gd name="connsiteX127" fmla="*/ 1033639 w 9143999"/>
              <a:gd name="connsiteY127" fmla="*/ 4802443 h 5143500"/>
              <a:gd name="connsiteX128" fmla="*/ 1056748 w 9143999"/>
              <a:gd name="connsiteY128" fmla="*/ 4778457 h 5143500"/>
              <a:gd name="connsiteX129" fmla="*/ 1071071 w 9143999"/>
              <a:gd name="connsiteY129" fmla="*/ 4779901 h 5143500"/>
              <a:gd name="connsiteX130" fmla="*/ 1076625 w 9143999"/>
              <a:gd name="connsiteY130" fmla="*/ 4774411 h 5143500"/>
              <a:gd name="connsiteX131" fmla="*/ 1079556 w 9143999"/>
              <a:gd name="connsiteY131" fmla="*/ 4759385 h 5143500"/>
              <a:gd name="connsiteX132" fmla="*/ 1080138 w 9143999"/>
              <a:gd name="connsiteY132" fmla="*/ 4755627 h 5143500"/>
              <a:gd name="connsiteX133" fmla="*/ 1074293 w 9143999"/>
              <a:gd name="connsiteY133" fmla="*/ 4749848 h 5143500"/>
              <a:gd name="connsiteX134" fmla="*/ 1072404 w 9143999"/>
              <a:gd name="connsiteY134" fmla="*/ 4749641 h 5143500"/>
              <a:gd name="connsiteX135" fmla="*/ 1072049 w 9143999"/>
              <a:gd name="connsiteY135" fmla="*/ 4749285 h 5143500"/>
              <a:gd name="connsiteX136" fmla="*/ 1053743 w 9143999"/>
              <a:gd name="connsiteY136" fmla="*/ 4747249 h 5143500"/>
              <a:gd name="connsiteX137" fmla="*/ 1115151 w 9143999"/>
              <a:gd name="connsiteY137" fmla="*/ 4747131 h 5143500"/>
              <a:gd name="connsiteX138" fmla="*/ 1095104 w 9143999"/>
              <a:gd name="connsiteY138" fmla="*/ 4767478 h 5143500"/>
              <a:gd name="connsiteX139" fmla="*/ 1116017 w 9143999"/>
              <a:gd name="connsiteY139" fmla="*/ 4787818 h 5143500"/>
              <a:gd name="connsiteX140" fmla="*/ 1136065 w 9143999"/>
              <a:gd name="connsiteY140" fmla="*/ 4767481 h 5143500"/>
              <a:gd name="connsiteX141" fmla="*/ 1115151 w 9143999"/>
              <a:gd name="connsiteY141" fmla="*/ 4747131 h 5143500"/>
              <a:gd name="connsiteX142" fmla="*/ 0 w 9143999"/>
              <a:gd name="connsiteY142" fmla="*/ 0 h 5143500"/>
              <a:gd name="connsiteX143" fmla="*/ 9143999 w 9143999"/>
              <a:gd name="connsiteY143" fmla="*/ 0 h 5143500"/>
              <a:gd name="connsiteX144" fmla="*/ 9143999 w 9143999"/>
              <a:gd name="connsiteY144" fmla="*/ 5143500 h 5143500"/>
              <a:gd name="connsiteX145" fmla="*/ 0 w 9143999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9143999" h="5143500">
                <a:moveTo>
                  <a:pt x="351363" y="4913481"/>
                </a:moveTo>
                <a:cubicBezTo>
                  <a:pt x="339456" y="4913486"/>
                  <a:pt x="331612" y="4921037"/>
                  <a:pt x="331613" y="4933530"/>
                </a:cubicBezTo>
                <a:cubicBezTo>
                  <a:pt x="331608" y="4945734"/>
                  <a:pt x="339456" y="4953580"/>
                  <a:pt x="352237" y="4953582"/>
                </a:cubicBezTo>
                <a:cubicBezTo>
                  <a:pt x="364153" y="4953577"/>
                  <a:pt x="371990" y="4945737"/>
                  <a:pt x="371987" y="4933533"/>
                </a:cubicBezTo>
                <a:cubicBezTo>
                  <a:pt x="371996" y="4921039"/>
                  <a:pt x="364153" y="4913482"/>
                  <a:pt x="351363" y="4913481"/>
                </a:cubicBezTo>
                <a:close/>
                <a:moveTo>
                  <a:pt x="892593" y="4837587"/>
                </a:moveTo>
                <a:lnTo>
                  <a:pt x="917846" y="4847631"/>
                </a:lnTo>
                <a:cubicBezTo>
                  <a:pt x="924091" y="4854457"/>
                  <a:pt x="927648" y="4864625"/>
                  <a:pt x="927648" y="4877990"/>
                </a:cubicBezTo>
                <a:cubicBezTo>
                  <a:pt x="927648" y="4891355"/>
                  <a:pt x="924091" y="4901524"/>
                  <a:pt x="918100" y="4908353"/>
                </a:cubicBezTo>
                <a:lnTo>
                  <a:pt x="894866" y="4918277"/>
                </a:lnTo>
                <a:lnTo>
                  <a:pt x="868933" y="4908080"/>
                </a:lnTo>
                <a:cubicBezTo>
                  <a:pt x="862645" y="4901288"/>
                  <a:pt x="859062" y="4891172"/>
                  <a:pt x="859062" y="4877877"/>
                </a:cubicBezTo>
                <a:cubicBezTo>
                  <a:pt x="859062" y="4864582"/>
                  <a:pt x="862645" y="4854468"/>
                  <a:pt x="868678" y="4847677"/>
                </a:cubicBezTo>
                <a:close/>
                <a:moveTo>
                  <a:pt x="559057" y="4837499"/>
                </a:moveTo>
                <a:lnTo>
                  <a:pt x="578336" y="4840021"/>
                </a:lnTo>
                <a:cubicBezTo>
                  <a:pt x="583309" y="4841465"/>
                  <a:pt x="585643" y="4843483"/>
                  <a:pt x="585643" y="4847817"/>
                </a:cubicBezTo>
                <a:lnTo>
                  <a:pt x="585643" y="4907937"/>
                </a:lnTo>
                <a:cubicBezTo>
                  <a:pt x="585643" y="4912270"/>
                  <a:pt x="583309" y="4914296"/>
                  <a:pt x="578336" y="4915741"/>
                </a:cubicBezTo>
                <a:lnTo>
                  <a:pt x="558605" y="4918322"/>
                </a:lnTo>
                <a:lnTo>
                  <a:pt x="534559" y="4909442"/>
                </a:lnTo>
                <a:cubicBezTo>
                  <a:pt x="527877" y="4902976"/>
                  <a:pt x="523519" y="4892806"/>
                  <a:pt x="523519" y="4877990"/>
                </a:cubicBezTo>
                <a:cubicBezTo>
                  <a:pt x="523519" y="4863173"/>
                  <a:pt x="527877" y="4853005"/>
                  <a:pt x="534559" y="4846542"/>
                </a:cubicBezTo>
                <a:close/>
                <a:moveTo>
                  <a:pt x="1101680" y="4805359"/>
                </a:moveTo>
                <a:cubicBezTo>
                  <a:pt x="1098192" y="4805359"/>
                  <a:pt x="1095864" y="4807677"/>
                  <a:pt x="1095864" y="4811167"/>
                </a:cubicBezTo>
                <a:lnTo>
                  <a:pt x="1095864" y="4944812"/>
                </a:lnTo>
                <a:cubicBezTo>
                  <a:pt x="1095864" y="4948301"/>
                  <a:pt x="1098192" y="4950628"/>
                  <a:pt x="1101680" y="4950628"/>
                </a:cubicBezTo>
                <a:lnTo>
                  <a:pt x="1127823" y="4950628"/>
                </a:lnTo>
                <a:lnTo>
                  <a:pt x="1128318" y="4950134"/>
                </a:lnTo>
                <a:lnTo>
                  <a:pt x="1130431" y="4950134"/>
                </a:lnTo>
                <a:cubicBezTo>
                  <a:pt x="1133944" y="4950134"/>
                  <a:pt x="1136285" y="4947819"/>
                  <a:pt x="1136285" y="4944348"/>
                </a:cubicBezTo>
                <a:lnTo>
                  <a:pt x="1136285" y="4811405"/>
                </a:lnTo>
                <a:cubicBezTo>
                  <a:pt x="1136285" y="4807934"/>
                  <a:pt x="1133944" y="4805627"/>
                  <a:pt x="1130431" y="4805627"/>
                </a:cubicBezTo>
                <a:lnTo>
                  <a:pt x="1128092" y="4805627"/>
                </a:lnTo>
                <a:lnTo>
                  <a:pt x="1127823" y="4805359"/>
                </a:lnTo>
                <a:close/>
                <a:moveTo>
                  <a:pt x="891920" y="4802455"/>
                </a:moveTo>
                <a:cubicBezTo>
                  <a:pt x="848337" y="4802455"/>
                  <a:pt x="819859" y="4834118"/>
                  <a:pt x="819859" y="4877990"/>
                </a:cubicBezTo>
                <a:cubicBezTo>
                  <a:pt x="819859" y="4921862"/>
                  <a:pt x="848337" y="4953533"/>
                  <a:pt x="893949" y="4953533"/>
                </a:cubicBezTo>
                <a:cubicBezTo>
                  <a:pt x="904845" y="4953533"/>
                  <a:pt x="914796" y="4951553"/>
                  <a:pt x="923593" y="4947899"/>
                </a:cubicBezTo>
                <a:lnTo>
                  <a:pt x="924071" y="4947569"/>
                </a:lnTo>
                <a:lnTo>
                  <a:pt x="924870" y="4947419"/>
                </a:lnTo>
                <a:cubicBezTo>
                  <a:pt x="951435" y="4936512"/>
                  <a:pt x="967553" y="4910608"/>
                  <a:pt x="967553" y="4877877"/>
                </a:cubicBezTo>
                <a:cubicBezTo>
                  <a:pt x="967553" y="4845146"/>
                  <a:pt x="951435" y="4819246"/>
                  <a:pt x="924008" y="4808342"/>
                </a:cubicBezTo>
                <a:lnTo>
                  <a:pt x="922787" y="4808121"/>
                </a:lnTo>
                <a:lnTo>
                  <a:pt x="922737" y="4808088"/>
                </a:lnTo>
                <a:cubicBezTo>
                  <a:pt x="913654" y="4804434"/>
                  <a:pt x="903323" y="4802455"/>
                  <a:pt x="891920" y="4802455"/>
                </a:cubicBezTo>
                <a:close/>
                <a:moveTo>
                  <a:pt x="725443" y="4802455"/>
                </a:moveTo>
                <a:cubicBezTo>
                  <a:pt x="708301" y="4802455"/>
                  <a:pt x="688255" y="4805359"/>
                  <a:pt x="667045" y="4812907"/>
                </a:cubicBezTo>
                <a:lnTo>
                  <a:pt x="666933" y="4813086"/>
                </a:lnTo>
                <a:lnTo>
                  <a:pt x="666650" y="4813136"/>
                </a:lnTo>
                <a:cubicBezTo>
                  <a:pt x="662556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7" y="4944785"/>
                </a:lnTo>
                <a:lnTo>
                  <a:pt x="659777" y="4944812"/>
                </a:lnTo>
                <a:cubicBezTo>
                  <a:pt x="659777" y="4948301"/>
                  <a:pt x="662103" y="4950628"/>
                  <a:pt x="665593" y="4950628"/>
                </a:cubicBezTo>
                <a:lnTo>
                  <a:pt x="691736" y="4950628"/>
                </a:lnTo>
                <a:cubicBezTo>
                  <a:pt x="695225" y="4950628"/>
                  <a:pt x="697552" y="4948301"/>
                  <a:pt x="697552" y="4944812"/>
                </a:cubicBezTo>
                <a:lnTo>
                  <a:pt x="697552" y="4847194"/>
                </a:lnTo>
                <a:lnTo>
                  <a:pt x="704448" y="4839717"/>
                </a:lnTo>
                <a:lnTo>
                  <a:pt x="726010" y="4837419"/>
                </a:lnTo>
                <a:lnTo>
                  <a:pt x="746013" y="4843168"/>
                </a:lnTo>
                <a:lnTo>
                  <a:pt x="754202" y="4862009"/>
                </a:lnTo>
                <a:lnTo>
                  <a:pt x="754202" y="4944812"/>
                </a:lnTo>
                <a:cubicBezTo>
                  <a:pt x="754202" y="4948301"/>
                  <a:pt x="756528" y="4950628"/>
                  <a:pt x="760018" y="4950628"/>
                </a:cubicBezTo>
                <a:lnTo>
                  <a:pt x="786160" y="4950628"/>
                </a:lnTo>
                <a:cubicBezTo>
                  <a:pt x="789650" y="4950628"/>
                  <a:pt x="791976" y="4948301"/>
                  <a:pt x="791976" y="4944812"/>
                </a:cubicBezTo>
                <a:lnTo>
                  <a:pt x="791976" y="4944762"/>
                </a:lnTo>
                <a:lnTo>
                  <a:pt x="792395" y="4944348"/>
                </a:lnTo>
                <a:lnTo>
                  <a:pt x="792395" y="4857065"/>
                </a:lnTo>
                <a:cubicBezTo>
                  <a:pt x="792395" y="4839438"/>
                  <a:pt x="786911" y="4825856"/>
                  <a:pt x="775798" y="4816682"/>
                </a:cubicBezTo>
                <a:lnTo>
                  <a:pt x="775543" y="4816611"/>
                </a:lnTo>
                <a:lnTo>
                  <a:pt x="775486" y="4816471"/>
                </a:lnTo>
                <a:cubicBezTo>
                  <a:pt x="764445" y="4807248"/>
                  <a:pt x="747812" y="4802455"/>
                  <a:pt x="725443" y="4802455"/>
                </a:cubicBezTo>
                <a:close/>
                <a:moveTo>
                  <a:pt x="559834" y="4802455"/>
                </a:moveTo>
                <a:cubicBezTo>
                  <a:pt x="548868" y="4802455"/>
                  <a:pt x="538719" y="4804289"/>
                  <a:pt x="529662" y="4807762"/>
                </a:cubicBezTo>
                <a:lnTo>
                  <a:pt x="529594" y="4807805"/>
                </a:lnTo>
                <a:lnTo>
                  <a:pt x="528372" y="4808018"/>
                </a:lnTo>
                <a:cubicBezTo>
                  <a:pt x="501027" y="4818381"/>
                  <a:pt x="483586" y="4843416"/>
                  <a:pt x="483586" y="4877877"/>
                </a:cubicBezTo>
                <a:cubicBezTo>
                  <a:pt x="483586" y="4912775"/>
                  <a:pt x="498720" y="4937596"/>
                  <a:pt x="526397" y="4947825"/>
                </a:cubicBezTo>
                <a:lnTo>
                  <a:pt x="527142" y="4947947"/>
                </a:lnTo>
                <a:lnTo>
                  <a:pt x="527700" y="4948307"/>
                </a:lnTo>
                <a:cubicBezTo>
                  <a:pt x="536866" y="4951735"/>
                  <a:pt x="547417" y="4953533"/>
                  <a:pt x="559257" y="4953533"/>
                </a:cubicBezTo>
                <a:cubicBezTo>
                  <a:pt x="578428" y="4953533"/>
                  <a:pt x="597022" y="4950331"/>
                  <a:pt x="617069" y="4941908"/>
                </a:cubicBezTo>
                <a:cubicBezTo>
                  <a:pt x="621722" y="4939879"/>
                  <a:pt x="624337" y="4936678"/>
                  <a:pt x="624337" y="4930284"/>
                </a:cubicBezTo>
                <a:lnTo>
                  <a:pt x="624337" y="4824821"/>
                </a:lnTo>
                <a:cubicBezTo>
                  <a:pt x="624337" y="4818138"/>
                  <a:pt x="621722" y="4814946"/>
                  <a:pt x="617069" y="4813204"/>
                </a:cubicBezTo>
                <a:cubicBezTo>
                  <a:pt x="597898" y="4805936"/>
                  <a:pt x="579880" y="4802455"/>
                  <a:pt x="559834" y="4802455"/>
                </a:cubicBezTo>
                <a:close/>
                <a:moveTo>
                  <a:pt x="398011" y="4801292"/>
                </a:moveTo>
                <a:lnTo>
                  <a:pt x="395922" y="4801589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6" y="4940590"/>
                  <a:pt x="423936" y="4944348"/>
                </a:cubicBezTo>
                <a:cubicBezTo>
                  <a:pt x="423645" y="4944931"/>
                  <a:pt x="423645" y="4945505"/>
                  <a:pt x="423645" y="4946089"/>
                </a:cubicBezTo>
                <a:cubicBezTo>
                  <a:pt x="423645" y="4948394"/>
                  <a:pt x="425106" y="4950134"/>
                  <a:pt x="428029" y="4950134"/>
                </a:cubicBezTo>
                <a:lnTo>
                  <a:pt x="429440" y="4950134"/>
                </a:lnTo>
                <a:lnTo>
                  <a:pt x="429969" y="4950628"/>
                </a:lnTo>
                <a:lnTo>
                  <a:pt x="456121" y="4950628"/>
                </a:lnTo>
                <a:cubicBezTo>
                  <a:pt x="460476" y="4950628"/>
                  <a:pt x="462216" y="4949176"/>
                  <a:pt x="463668" y="4944812"/>
                </a:cubicBezTo>
                <a:cubicBezTo>
                  <a:pt x="465418" y="4939879"/>
                  <a:pt x="465995" y="4933196"/>
                  <a:pt x="465995" y="4928255"/>
                </a:cubicBezTo>
                <a:cubicBezTo>
                  <a:pt x="465995" y="4862299"/>
                  <a:pt x="372445" y="4878177"/>
                  <a:pt x="372445" y="4850972"/>
                </a:cubicBezTo>
                <a:cubicBezTo>
                  <a:pt x="372445" y="4846523"/>
                  <a:pt x="374698" y="4842891"/>
                  <a:pt x="378874" y="4840371"/>
                </a:cubicBezTo>
                <a:lnTo>
                  <a:pt x="395404" y="4836760"/>
                </a:lnTo>
                <a:lnTo>
                  <a:pt x="438848" y="4849557"/>
                </a:lnTo>
                <a:cubicBezTo>
                  <a:pt x="440310" y="4850418"/>
                  <a:pt x="441771" y="4850714"/>
                  <a:pt x="443232" y="4850714"/>
                </a:cubicBezTo>
                <a:lnTo>
                  <a:pt x="443815" y="4850347"/>
                </a:lnTo>
                <a:lnTo>
                  <a:pt x="445074" y="4850684"/>
                </a:lnTo>
                <a:cubicBezTo>
                  <a:pt x="447689" y="4850684"/>
                  <a:pt x="450305" y="4849231"/>
                  <a:pt x="451467" y="4846616"/>
                </a:cubicBezTo>
                <a:lnTo>
                  <a:pt x="460476" y="4827435"/>
                </a:lnTo>
                <a:cubicBezTo>
                  <a:pt x="461317" y="4825652"/>
                  <a:pt x="461639" y="4823954"/>
                  <a:pt x="461639" y="4822502"/>
                </a:cubicBezTo>
                <a:cubicBezTo>
                  <a:pt x="461639" y="4820176"/>
                  <a:pt x="460485" y="4817858"/>
                  <a:pt x="458150" y="4816686"/>
                </a:cubicBezTo>
                <a:cubicBezTo>
                  <a:pt x="440141" y="4806226"/>
                  <a:pt x="418635" y="4801292"/>
                  <a:pt x="398011" y="4801292"/>
                </a:cubicBezTo>
                <a:close/>
                <a:moveTo>
                  <a:pt x="1053743" y="4747249"/>
                </a:moveTo>
                <a:cubicBezTo>
                  <a:pt x="1017717" y="4747249"/>
                  <a:pt x="994181" y="4766420"/>
                  <a:pt x="994181" y="4808264"/>
                </a:cubicBezTo>
                <a:lnTo>
                  <a:pt x="994181" y="4944812"/>
                </a:lnTo>
                <a:cubicBezTo>
                  <a:pt x="994181" y="4948301"/>
                  <a:pt x="996508" y="4950628"/>
                  <a:pt x="999997" y="4950628"/>
                </a:cubicBezTo>
                <a:lnTo>
                  <a:pt x="1025851" y="4950628"/>
                </a:lnTo>
                <a:lnTo>
                  <a:pt x="1026345" y="4950134"/>
                </a:lnTo>
                <a:lnTo>
                  <a:pt x="1027794" y="4950134"/>
                </a:lnTo>
                <a:cubicBezTo>
                  <a:pt x="1031306" y="4950134"/>
                  <a:pt x="1033639" y="4947819"/>
                  <a:pt x="1033639" y="4944348"/>
                </a:cubicBezTo>
                <a:lnTo>
                  <a:pt x="1033639" y="4837419"/>
                </a:lnTo>
                <a:lnTo>
                  <a:pt x="1070780" y="4837419"/>
                </a:lnTo>
                <a:cubicBezTo>
                  <a:pt x="1074584" y="4837419"/>
                  <a:pt x="1076625" y="4835105"/>
                  <a:pt x="1076625" y="4831634"/>
                </a:cubicBezTo>
                <a:lnTo>
                  <a:pt x="1076625" y="4811692"/>
                </a:lnTo>
                <a:cubicBezTo>
                  <a:pt x="1076625" y="4807934"/>
                  <a:pt x="1074584" y="4805627"/>
                  <a:pt x="1070780" y="4805627"/>
                </a:cubicBezTo>
                <a:lnTo>
                  <a:pt x="1068815" y="4805627"/>
                </a:lnTo>
                <a:lnTo>
                  <a:pt x="1068559" y="4805359"/>
                </a:lnTo>
                <a:lnTo>
                  <a:pt x="1033639" y="4805359"/>
                </a:lnTo>
                <a:lnTo>
                  <a:pt x="1033639" y="4802443"/>
                </a:lnTo>
                <a:cubicBezTo>
                  <a:pt x="1033639" y="4786548"/>
                  <a:pt x="1040663" y="4778457"/>
                  <a:pt x="1056748" y="4778457"/>
                </a:cubicBezTo>
                <a:cubicBezTo>
                  <a:pt x="1062593" y="4778457"/>
                  <a:pt x="1068892" y="4779901"/>
                  <a:pt x="1071071" y="4779901"/>
                </a:cubicBezTo>
                <a:cubicBezTo>
                  <a:pt x="1074584" y="4779901"/>
                  <a:pt x="1076045" y="4777882"/>
                  <a:pt x="1076625" y="4774411"/>
                </a:cubicBezTo>
                <a:lnTo>
                  <a:pt x="1079556" y="4759385"/>
                </a:lnTo>
                <a:cubicBezTo>
                  <a:pt x="1079813" y="4758050"/>
                  <a:pt x="1080138" y="4756876"/>
                  <a:pt x="1080138" y="4755627"/>
                </a:cubicBezTo>
                <a:cubicBezTo>
                  <a:pt x="1080138" y="4752417"/>
                  <a:pt x="1078386" y="4750711"/>
                  <a:pt x="1074293" y="4749848"/>
                </a:cubicBezTo>
                <a:lnTo>
                  <a:pt x="1072404" y="4749641"/>
                </a:lnTo>
                <a:lnTo>
                  <a:pt x="1072049" y="4749285"/>
                </a:lnTo>
                <a:cubicBezTo>
                  <a:pt x="1066232" y="4747834"/>
                  <a:pt x="1059941" y="4747249"/>
                  <a:pt x="1053743" y="4747249"/>
                </a:cubicBezTo>
                <a:close/>
                <a:moveTo>
                  <a:pt x="1115151" y="4747131"/>
                </a:moveTo>
                <a:cubicBezTo>
                  <a:pt x="1102947" y="4747139"/>
                  <a:pt x="1095102" y="4754688"/>
                  <a:pt x="1095104" y="4767478"/>
                </a:cubicBezTo>
                <a:cubicBezTo>
                  <a:pt x="1095101" y="4779971"/>
                  <a:pt x="1102947" y="4787811"/>
                  <a:pt x="1116017" y="4787818"/>
                </a:cubicBezTo>
                <a:cubicBezTo>
                  <a:pt x="1127933" y="4787817"/>
                  <a:pt x="1136070" y="4779974"/>
                  <a:pt x="1136065" y="4767481"/>
                </a:cubicBezTo>
                <a:cubicBezTo>
                  <a:pt x="1136070" y="4754690"/>
                  <a:pt x="1127933" y="4747137"/>
                  <a:pt x="1115151" y="4747131"/>
                </a:cubicBezTo>
                <a:close/>
                <a:moveTo>
                  <a:pt x="0" y="0"/>
                </a:moveTo>
                <a:lnTo>
                  <a:pt x="9143999" y="0"/>
                </a:lnTo>
                <a:lnTo>
                  <a:pt x="9143999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0B90B88F-38E1-44C8-9D6F-1A9BFFE001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78558" y="2915364"/>
            <a:ext cx="4949741" cy="1399251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333"/>
              </a:spcAft>
              <a:defRPr lang="fr-FR" sz="4800" b="0" i="1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marL="0" indent="0" algn="l">
              <a:lnSpc>
                <a:spcPct val="90000"/>
              </a:lnSpc>
              <a:buFont typeface="Arial" panose="020B0604020202020204" pitchFamily="34" charset="0"/>
              <a:buNone/>
              <a:defRPr lang="en-US" sz="4800" b="0" i="1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333"/>
              </a:spcBef>
              <a:defRPr sz="1867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marL="761981" lvl="0" indent="-761981" algn="l" defTabSz="914377" rtl="0" eaLnBrk="1" latinLnBrk="0" hangingPunct="1">
              <a:lnSpc>
                <a:spcPct val="90000"/>
              </a:lnSpc>
              <a:spcBef>
                <a:spcPts val="0"/>
              </a:spcBef>
            </a:pPr>
            <a:r>
              <a:rPr lang="en-US" noProof="0"/>
              <a:t>Click to edit Master text styles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9F6585BF-F3F3-4500-9CFA-EF0D9041ED5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778558" y="4395893"/>
            <a:ext cx="4949741" cy="710532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333"/>
              </a:spcAft>
              <a:defRPr lang="fr-FR" sz="1867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algn="l">
              <a:lnSpc>
                <a:spcPct val="90000"/>
              </a:lnSpc>
              <a:defRPr lang="en-US" sz="1867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333"/>
              </a:spcBef>
              <a:defRPr lang="en-US" sz="1867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1333"/>
              </a:spcBef>
              <a:buFont typeface="Arial" panose="020B0604020202020204" pitchFamily="34" charset="0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FB220A98-FE22-4FE9-AB26-E269403DC28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778558" y="1792928"/>
            <a:ext cx="4949741" cy="939945"/>
          </a:xfrm>
        </p:spPr>
        <p:txBody>
          <a:bodyPr anchor="b">
            <a:noAutofit/>
          </a:bodyPr>
          <a:lstStyle>
            <a:lvl1pPr algn="l">
              <a:lnSpc>
                <a:spcPct val="96000"/>
              </a:lnSpc>
              <a:spcAft>
                <a:spcPts val="1333"/>
              </a:spcAft>
              <a:defRPr lang="fr-FR" sz="2933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90000"/>
              </a:lnSpc>
              <a:defRPr sz="4800" b="0" i="1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333"/>
              </a:spcBef>
              <a:defRPr sz="1867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Forme libre : forme 9">
            <a:extLst>
              <a:ext uri="{FF2B5EF4-FFF2-40B4-BE49-F238E27FC236}">
                <a16:creationId xmlns:a16="http://schemas.microsoft.com/office/drawing/2014/main" id="{F4B8DA8B-2C07-4FC6-911D-D340BE461554}"/>
              </a:ext>
            </a:extLst>
          </p:cNvPr>
          <p:cNvSpPr>
            <a:spLocks noChangeAspect="1"/>
          </p:cNvSpPr>
          <p:nvPr userDrawn="1"/>
        </p:nvSpPr>
        <p:spPr>
          <a:xfrm>
            <a:off x="441599" y="6330316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26" name="Graphique 7">
            <a:extLst>
              <a:ext uri="{FF2B5EF4-FFF2-40B4-BE49-F238E27FC236}">
                <a16:creationId xmlns:a16="http://schemas.microsoft.com/office/drawing/2014/main" id="{2473C403-3091-45DA-8311-8B80BACBDD7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27" name="Forme libre : forme 9">
              <a:extLst>
                <a:ext uri="{FF2B5EF4-FFF2-40B4-BE49-F238E27FC236}">
                  <a16:creationId xmlns:a16="http://schemas.microsoft.com/office/drawing/2014/main" id="{9A66E28E-1ED8-413A-86AB-392723C99535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" name="Forme libre : forme 10">
              <a:extLst>
                <a:ext uri="{FF2B5EF4-FFF2-40B4-BE49-F238E27FC236}">
                  <a16:creationId xmlns:a16="http://schemas.microsoft.com/office/drawing/2014/main" id="{332EEDE0-E68F-49D3-A74F-33347ECF61BC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29" name="Forme libre : forme 11">
              <a:extLst>
                <a:ext uri="{FF2B5EF4-FFF2-40B4-BE49-F238E27FC236}">
                  <a16:creationId xmlns:a16="http://schemas.microsoft.com/office/drawing/2014/main" id="{3EA6B076-5413-42E1-95D1-72C23C1D4D5B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352255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+ 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6" y="1777407"/>
            <a:ext cx="5252604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6096001" y="1316567"/>
            <a:ext cx="5609167" cy="4427064"/>
          </a:xfrm>
        </p:spPr>
        <p:txBody>
          <a:bodyPr/>
          <a:lstStyle/>
          <a:p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6095999" y="5740040"/>
            <a:ext cx="5609167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6265138" y="5895707"/>
            <a:ext cx="5262229" cy="194733"/>
          </a:xfrm>
        </p:spPr>
        <p:txBody>
          <a:bodyPr/>
          <a:lstStyle>
            <a:lvl1pPr marL="0" indent="0" algn="r">
              <a:buNone/>
              <a:defRPr sz="1867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3337345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8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unch Oth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051338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11817578" y="6356466"/>
            <a:ext cx="374649" cy="328295"/>
          </a:xfrm>
        </p:spPr>
        <p:txBody>
          <a:bodyPr/>
          <a:lstStyle/>
          <a:p>
            <a:r>
              <a:rPr lang="en-US">
                <a:solidFill>
                  <a:srgbClr val="646464"/>
                </a:solidFill>
              </a:rPr>
              <a:t>|</a:t>
            </a:r>
            <a:r>
              <a:rPr lang="en-US" sz="1200" baseline="16000">
                <a:solidFill>
                  <a:srgbClr val="646464"/>
                </a:solidFill>
              </a:rPr>
              <a:t>        </a:t>
            </a:r>
            <a:fld id="{13ED243F-8016-4067-99B8-30BE5D611947}" type="slidenum">
              <a:rPr lang="en-US" smtClean="0">
                <a:solidFill>
                  <a:srgbClr val="646464"/>
                </a:solidFill>
              </a:rPr>
              <a:pPr/>
              <a:t>‹#›</a:t>
            </a:fld>
            <a:endParaRPr lang="en-US">
              <a:solidFill>
                <a:srgbClr val="646464"/>
              </a:solidFill>
            </a:endParaRPr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4" hasCustomPrompt="1"/>
          </p:nvPr>
        </p:nvSpPr>
        <p:spPr>
          <a:xfrm>
            <a:off x="912284" y="1268459"/>
            <a:ext cx="10464800" cy="369332"/>
          </a:xfrm>
        </p:spPr>
        <p:txBody>
          <a:bodyPr/>
          <a:lstStyle>
            <a:lvl1pPr>
              <a:defRPr/>
            </a:lvl1pPr>
            <a:lvl2pPr marL="609585" indent="0">
              <a:buNone/>
              <a:defRPr/>
            </a:lvl2pPr>
          </a:lstStyle>
          <a:p>
            <a:pPr lvl="0"/>
            <a:r>
              <a:rPr lang="fr-FR"/>
              <a:t>Insert key infos </a:t>
            </a:r>
            <a:r>
              <a:rPr lang="fr-FR" err="1"/>
              <a:t>he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39068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2350" y="295226"/>
            <a:ext cx="11226799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2667" b="1">
                <a:solidFill>
                  <a:srgbClr val="525CA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9195F47-DCFD-894B-9092-12EB9D4447FB}"/>
              </a:ext>
            </a:extLst>
          </p:cNvPr>
          <p:cNvSpPr txBox="1"/>
          <p:nvPr userDrawn="1"/>
        </p:nvSpPr>
        <p:spPr>
          <a:xfrm>
            <a:off x="11599149" y="6446997"/>
            <a:ext cx="328247" cy="174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EF215E5F-A348-3246-A234-EE7756B1BAEF}" type="slidenum">
              <a:rPr lang="en-US" sz="1133" b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33" b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05777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FD0901-0131-4943-BF19-F2E92406D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1" y="346392"/>
            <a:ext cx="11226801" cy="5170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B66BED-3795-4E28-AE46-198C454580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54"/>
            <a:fld id="{980E94A8-0648-D043-B8F7-3AFA110B04BE}" type="slidenum">
              <a:rPr lang="fr-FR" smtClean="0">
                <a:solidFill>
                  <a:srgbClr val="6B747B"/>
                </a:solidFill>
              </a:rPr>
              <a:pPr defTabSz="914354"/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00131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7" y="1060864"/>
            <a:ext cx="11226372" cy="5200237"/>
          </a:xfrm>
        </p:spPr>
        <p:txBody>
          <a:bodyPr/>
          <a:lstStyle>
            <a:lvl1pPr marL="222245" indent="-222245">
              <a:spcBef>
                <a:spcPts val="1200"/>
              </a:spcBef>
              <a:buFont typeface="Arial" charset="0"/>
              <a:buChar char="•"/>
              <a:tabLst>
                <a:tab pos="11279435" algn="r"/>
              </a:tabLst>
              <a:defRPr sz="2400" b="0" baseline="0"/>
            </a:lvl1pPr>
            <a:lvl2pPr marL="400041" indent="-177796">
              <a:spcBef>
                <a:spcPts val="0"/>
              </a:spcBef>
              <a:buFont typeface="Arial" charset="0"/>
              <a:buChar char="•"/>
              <a:tabLst>
                <a:tab pos="11279718" algn="r"/>
              </a:tabLst>
              <a:defRPr sz="2133"/>
            </a:lvl2pPr>
            <a:lvl3pPr marL="361940" indent="0">
              <a:buNone/>
              <a:defRPr/>
            </a:lvl3pPr>
          </a:lstStyle>
          <a:p>
            <a:pPr lvl="0"/>
            <a:r>
              <a:rPr lang="fr-FR"/>
              <a:t>Texte 1er niveau, corps 18	XX</a:t>
            </a:r>
          </a:p>
          <a:p>
            <a:pPr lvl="1"/>
            <a:r>
              <a:rPr lang="fr-FR"/>
              <a:t>Texte 2e niveau, corps 16	XX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5363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Title with Image (Light)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555749" y="6046106"/>
            <a:ext cx="2743200" cy="366183"/>
          </a:xfrm>
        </p:spPr>
        <p:txBody>
          <a:bodyPr/>
          <a:lstStyle/>
          <a:p>
            <a:endParaRPr lang="en-US" noProof="0"/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360010" y="516248"/>
            <a:ext cx="1134681" cy="29212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1AB0F57C-0BDD-489A-8A1B-5EDF19A942B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817152" y="0"/>
            <a:ext cx="6374848" cy="6858000"/>
          </a:xfrm>
          <a:custGeom>
            <a:avLst/>
            <a:gdLst>
              <a:gd name="connsiteX0" fmla="*/ 1107901 w 4781136"/>
              <a:gd name="connsiteY0" fmla="*/ 0 h 5143500"/>
              <a:gd name="connsiteX1" fmla="*/ 4781136 w 4781136"/>
              <a:gd name="connsiteY1" fmla="*/ 0 h 5143500"/>
              <a:gd name="connsiteX2" fmla="*/ 4781136 w 4781136"/>
              <a:gd name="connsiteY2" fmla="*/ 5143500 h 5143500"/>
              <a:gd name="connsiteX3" fmla="*/ 989018 w 4781136"/>
              <a:gd name="connsiteY3" fmla="*/ 5143500 h 5143500"/>
              <a:gd name="connsiteX4" fmla="*/ 919683 w 4781136"/>
              <a:gd name="connsiteY4" fmla="*/ 5081299 h 5143500"/>
              <a:gd name="connsiteX5" fmla="*/ 1 w 4781136"/>
              <a:gd name="connsiteY5" fmla="*/ 2622891 h 5143500"/>
              <a:gd name="connsiteX6" fmla="*/ 937787 w 4781136"/>
              <a:gd name="connsiteY6" fmla="*/ 14597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6" h="5143500">
                <a:moveTo>
                  <a:pt x="1107901" y="0"/>
                </a:moveTo>
                <a:lnTo>
                  <a:pt x="4781136" y="0"/>
                </a:lnTo>
                <a:lnTo>
                  <a:pt x="4781136" y="5143500"/>
                </a:lnTo>
                <a:lnTo>
                  <a:pt x="989018" y="5143500"/>
                </a:lnTo>
                <a:lnTo>
                  <a:pt x="919683" y="5081299"/>
                </a:lnTo>
                <a:cubicBezTo>
                  <a:pt x="336550" y="4498301"/>
                  <a:pt x="-121" y="3656845"/>
                  <a:pt x="1" y="2622891"/>
                </a:cubicBezTo>
                <a:cubicBezTo>
                  <a:pt x="1" y="1564827"/>
                  <a:pt x="336658" y="723140"/>
                  <a:pt x="937787" y="14597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E524DE05-7CC7-4387-9E17-CF1AA89E4B4E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2859129" y="1763753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9" name="Espace réservé du graphique SmartArt 11">
            <a:extLst>
              <a:ext uri="{FF2B5EF4-FFF2-40B4-BE49-F238E27FC236}">
                <a16:creationId xmlns:a16="http://schemas.microsoft.com/office/drawing/2014/main" id="{F45AC8C0-72B9-4116-A64A-1AD549F9265B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2859129" y="5169752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DAC97769-F6CE-4CF7-9BE0-6E710C78364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2480" y="1926301"/>
            <a:ext cx="4949741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40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F3DF5F72-18BA-4065-A65B-A334B1A776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2480" y="3758157"/>
            <a:ext cx="4949741" cy="53795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34BB3A45-7407-4558-9A4C-0A5BE85B32D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2480" y="4320498"/>
            <a:ext cx="4949741" cy="77066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492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cteur droit 9"/>
          <p:cNvCxnSpPr/>
          <p:nvPr userDrawn="1"/>
        </p:nvCxnSpPr>
        <p:spPr>
          <a:xfrm>
            <a:off x="11944351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78367" y="1882273"/>
            <a:ext cx="11226800" cy="3733244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355695D-8684-4018-BA07-B9FAF4FEE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3">
            <a:extLst>
              <a:ext uri="{FF2B5EF4-FFF2-40B4-BE49-F238E27FC236}">
                <a16:creationId xmlns:a16="http://schemas.microsoft.com/office/drawing/2014/main" id="{690635A7-91FD-4F82-9678-EE73FC509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6927" y="6383070"/>
            <a:ext cx="496392" cy="25654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 b="1">
                <a:solidFill>
                  <a:schemeClr val="tx2"/>
                </a:solidFill>
              </a:defRPr>
            </a:lvl1pPr>
          </a:lstStyle>
          <a:p>
            <a:fld id="{27DF9C4D-EFF3-4E53-88A0-1A86512F6BE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02666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097749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E45D861-1E32-4255-8455-5A0179FCB6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933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C37A364-462F-4DE8-8D4F-65CD854FF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numéro de diapositive 3">
            <a:extLst>
              <a:ext uri="{FF2B5EF4-FFF2-40B4-BE49-F238E27FC236}">
                <a16:creationId xmlns:a16="http://schemas.microsoft.com/office/drawing/2014/main" id="{ABD58CCB-E825-4DC8-B981-027914A77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6927" y="6328251"/>
            <a:ext cx="496392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 b="1">
                <a:solidFill>
                  <a:schemeClr val="tx2"/>
                </a:solidFill>
              </a:defRPr>
            </a:lvl1pPr>
          </a:lstStyle>
          <a:p>
            <a:fld id="{27DF9C4D-EFF3-4E53-88A0-1A86512F6BE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999805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cteur droit 9"/>
          <p:cNvCxnSpPr/>
          <p:nvPr userDrawn="1"/>
        </p:nvCxnSpPr>
        <p:spPr>
          <a:xfrm>
            <a:off x="11944351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478367" y="1882273"/>
            <a:ext cx="11226800" cy="3733244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355695D-8684-4018-BA07-B9FAF4FEE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u numéro de diapositive 3">
            <a:extLst>
              <a:ext uri="{FF2B5EF4-FFF2-40B4-BE49-F238E27FC236}">
                <a16:creationId xmlns:a16="http://schemas.microsoft.com/office/drawing/2014/main" id="{690635A7-91FD-4F82-9678-EE73FC509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6927" y="6328251"/>
            <a:ext cx="496392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 b="1">
                <a:solidFill>
                  <a:schemeClr val="tx2"/>
                </a:solidFill>
              </a:defRPr>
            </a:lvl1pPr>
          </a:lstStyle>
          <a:p>
            <a:fld id="{27DF9C4D-EFF3-4E53-88A0-1A86512F6BE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2417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33"/>
            <a:ext cx="11226800" cy="517001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9" y="1686420"/>
            <a:ext cx="11226801" cy="4483693"/>
          </a:xfrm>
        </p:spPr>
        <p:txBody>
          <a:bodyPr/>
          <a:lstStyle>
            <a:lvl1pPr>
              <a:defRPr baseline="0"/>
            </a:lvl1pPr>
            <a:lvl3pPr marL="537593" indent="-177788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1671783" y="6441569"/>
            <a:ext cx="8848436" cy="164148"/>
          </a:xfrm>
        </p:spPr>
        <p:txBody>
          <a:bodyPr/>
          <a:lstStyle/>
          <a:p>
            <a:r>
              <a:rPr lang="fr-FR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9" y="950403"/>
            <a:ext cx="11226801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74" indent="0">
              <a:buNone/>
              <a:defRPr/>
            </a:lvl2pPr>
            <a:lvl3pPr marL="914332" indent="0">
              <a:buNone/>
              <a:defRPr/>
            </a:lvl3pPr>
            <a:lvl4pPr marL="1371498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607900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next t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5C5F3432-6FAD-4E94-8F10-E3A9F6458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351364 w 4572000"/>
              <a:gd name="connsiteY0" fmla="*/ 4913481 h 5143500"/>
              <a:gd name="connsiteX1" fmla="*/ 331614 w 4572000"/>
              <a:gd name="connsiteY1" fmla="*/ 4933530 h 5143500"/>
              <a:gd name="connsiteX2" fmla="*/ 352238 w 4572000"/>
              <a:gd name="connsiteY2" fmla="*/ 4953582 h 5143500"/>
              <a:gd name="connsiteX3" fmla="*/ 371988 w 4572000"/>
              <a:gd name="connsiteY3" fmla="*/ 4933533 h 5143500"/>
              <a:gd name="connsiteX4" fmla="*/ 351364 w 4572000"/>
              <a:gd name="connsiteY4" fmla="*/ 4913481 h 5143500"/>
              <a:gd name="connsiteX5" fmla="*/ 892594 w 4572000"/>
              <a:gd name="connsiteY5" fmla="*/ 4837587 h 5143500"/>
              <a:gd name="connsiteX6" fmla="*/ 917847 w 4572000"/>
              <a:gd name="connsiteY6" fmla="*/ 4847631 h 5143500"/>
              <a:gd name="connsiteX7" fmla="*/ 927649 w 4572000"/>
              <a:gd name="connsiteY7" fmla="*/ 4877990 h 5143500"/>
              <a:gd name="connsiteX8" fmla="*/ 918101 w 4572000"/>
              <a:gd name="connsiteY8" fmla="*/ 4908353 h 5143500"/>
              <a:gd name="connsiteX9" fmla="*/ 894867 w 4572000"/>
              <a:gd name="connsiteY9" fmla="*/ 4918277 h 5143500"/>
              <a:gd name="connsiteX10" fmla="*/ 868934 w 4572000"/>
              <a:gd name="connsiteY10" fmla="*/ 4908080 h 5143500"/>
              <a:gd name="connsiteX11" fmla="*/ 859063 w 4572000"/>
              <a:gd name="connsiteY11" fmla="*/ 4877877 h 5143500"/>
              <a:gd name="connsiteX12" fmla="*/ 868679 w 4572000"/>
              <a:gd name="connsiteY12" fmla="*/ 4847677 h 5143500"/>
              <a:gd name="connsiteX13" fmla="*/ 559058 w 4572000"/>
              <a:gd name="connsiteY13" fmla="*/ 4837499 h 5143500"/>
              <a:gd name="connsiteX14" fmla="*/ 578337 w 4572000"/>
              <a:gd name="connsiteY14" fmla="*/ 4840021 h 5143500"/>
              <a:gd name="connsiteX15" fmla="*/ 585644 w 4572000"/>
              <a:gd name="connsiteY15" fmla="*/ 4847817 h 5143500"/>
              <a:gd name="connsiteX16" fmla="*/ 585644 w 4572000"/>
              <a:gd name="connsiteY16" fmla="*/ 4907937 h 5143500"/>
              <a:gd name="connsiteX17" fmla="*/ 578337 w 4572000"/>
              <a:gd name="connsiteY17" fmla="*/ 4915741 h 5143500"/>
              <a:gd name="connsiteX18" fmla="*/ 558606 w 4572000"/>
              <a:gd name="connsiteY18" fmla="*/ 4918322 h 5143500"/>
              <a:gd name="connsiteX19" fmla="*/ 534560 w 4572000"/>
              <a:gd name="connsiteY19" fmla="*/ 4909442 h 5143500"/>
              <a:gd name="connsiteX20" fmla="*/ 523520 w 4572000"/>
              <a:gd name="connsiteY20" fmla="*/ 4877990 h 5143500"/>
              <a:gd name="connsiteX21" fmla="*/ 534560 w 4572000"/>
              <a:gd name="connsiteY21" fmla="*/ 4846542 h 5143500"/>
              <a:gd name="connsiteX22" fmla="*/ 1101681 w 4572000"/>
              <a:gd name="connsiteY22" fmla="*/ 4805359 h 5143500"/>
              <a:gd name="connsiteX23" fmla="*/ 1095865 w 4572000"/>
              <a:gd name="connsiteY23" fmla="*/ 4811167 h 5143500"/>
              <a:gd name="connsiteX24" fmla="*/ 1095865 w 4572000"/>
              <a:gd name="connsiteY24" fmla="*/ 4944812 h 5143500"/>
              <a:gd name="connsiteX25" fmla="*/ 1101681 w 4572000"/>
              <a:gd name="connsiteY25" fmla="*/ 4950628 h 5143500"/>
              <a:gd name="connsiteX26" fmla="*/ 1127824 w 4572000"/>
              <a:gd name="connsiteY26" fmla="*/ 4950628 h 5143500"/>
              <a:gd name="connsiteX27" fmla="*/ 1128318 w 4572000"/>
              <a:gd name="connsiteY27" fmla="*/ 4950134 h 5143500"/>
              <a:gd name="connsiteX28" fmla="*/ 1130432 w 4572000"/>
              <a:gd name="connsiteY28" fmla="*/ 4950134 h 5143500"/>
              <a:gd name="connsiteX29" fmla="*/ 1136286 w 4572000"/>
              <a:gd name="connsiteY29" fmla="*/ 4944348 h 5143500"/>
              <a:gd name="connsiteX30" fmla="*/ 1136286 w 4572000"/>
              <a:gd name="connsiteY30" fmla="*/ 4811405 h 5143500"/>
              <a:gd name="connsiteX31" fmla="*/ 1130432 w 4572000"/>
              <a:gd name="connsiteY31" fmla="*/ 4805627 h 5143500"/>
              <a:gd name="connsiteX32" fmla="*/ 1128093 w 4572000"/>
              <a:gd name="connsiteY32" fmla="*/ 4805627 h 5143500"/>
              <a:gd name="connsiteX33" fmla="*/ 1127824 w 4572000"/>
              <a:gd name="connsiteY33" fmla="*/ 4805359 h 5143500"/>
              <a:gd name="connsiteX34" fmla="*/ 891921 w 4572000"/>
              <a:gd name="connsiteY34" fmla="*/ 4802455 h 5143500"/>
              <a:gd name="connsiteX35" fmla="*/ 819860 w 4572000"/>
              <a:gd name="connsiteY35" fmla="*/ 4877990 h 5143500"/>
              <a:gd name="connsiteX36" fmla="*/ 893950 w 4572000"/>
              <a:gd name="connsiteY36" fmla="*/ 4953533 h 5143500"/>
              <a:gd name="connsiteX37" fmla="*/ 923594 w 4572000"/>
              <a:gd name="connsiteY37" fmla="*/ 4947899 h 5143500"/>
              <a:gd name="connsiteX38" fmla="*/ 924072 w 4572000"/>
              <a:gd name="connsiteY38" fmla="*/ 4947569 h 5143500"/>
              <a:gd name="connsiteX39" fmla="*/ 924870 w 4572000"/>
              <a:gd name="connsiteY39" fmla="*/ 4947419 h 5143500"/>
              <a:gd name="connsiteX40" fmla="*/ 967554 w 4572000"/>
              <a:gd name="connsiteY40" fmla="*/ 4877877 h 5143500"/>
              <a:gd name="connsiteX41" fmla="*/ 924009 w 4572000"/>
              <a:gd name="connsiteY41" fmla="*/ 4808342 h 5143500"/>
              <a:gd name="connsiteX42" fmla="*/ 922788 w 4572000"/>
              <a:gd name="connsiteY42" fmla="*/ 4808122 h 5143500"/>
              <a:gd name="connsiteX43" fmla="*/ 922738 w 4572000"/>
              <a:gd name="connsiteY43" fmla="*/ 4808088 h 5143500"/>
              <a:gd name="connsiteX44" fmla="*/ 891921 w 4572000"/>
              <a:gd name="connsiteY44" fmla="*/ 4802455 h 5143500"/>
              <a:gd name="connsiteX45" fmla="*/ 725444 w 4572000"/>
              <a:gd name="connsiteY45" fmla="*/ 4802455 h 5143500"/>
              <a:gd name="connsiteX46" fmla="*/ 667046 w 4572000"/>
              <a:gd name="connsiteY46" fmla="*/ 4812907 h 5143500"/>
              <a:gd name="connsiteX47" fmla="*/ 666934 w 4572000"/>
              <a:gd name="connsiteY47" fmla="*/ 4813086 h 5143500"/>
              <a:gd name="connsiteX48" fmla="*/ 666651 w 4572000"/>
              <a:gd name="connsiteY48" fmla="*/ 4813136 h 5143500"/>
              <a:gd name="connsiteX49" fmla="*/ 659335 w 4572000"/>
              <a:gd name="connsiteY49" fmla="*/ 4824699 h 5143500"/>
              <a:gd name="connsiteX50" fmla="*/ 659335 w 4572000"/>
              <a:gd name="connsiteY50" fmla="*/ 4944348 h 5143500"/>
              <a:gd name="connsiteX51" fmla="*/ 659778 w 4572000"/>
              <a:gd name="connsiteY51" fmla="*/ 4944785 h 5143500"/>
              <a:gd name="connsiteX52" fmla="*/ 659778 w 4572000"/>
              <a:gd name="connsiteY52" fmla="*/ 4944812 h 5143500"/>
              <a:gd name="connsiteX53" fmla="*/ 665594 w 4572000"/>
              <a:gd name="connsiteY53" fmla="*/ 4950628 h 5143500"/>
              <a:gd name="connsiteX54" fmla="*/ 691737 w 4572000"/>
              <a:gd name="connsiteY54" fmla="*/ 4950628 h 5143500"/>
              <a:gd name="connsiteX55" fmla="*/ 697553 w 4572000"/>
              <a:gd name="connsiteY55" fmla="*/ 4944812 h 5143500"/>
              <a:gd name="connsiteX56" fmla="*/ 697553 w 4572000"/>
              <a:gd name="connsiteY56" fmla="*/ 4847194 h 5143500"/>
              <a:gd name="connsiteX57" fmla="*/ 704449 w 4572000"/>
              <a:gd name="connsiteY57" fmla="*/ 4839717 h 5143500"/>
              <a:gd name="connsiteX58" fmla="*/ 726010 w 4572000"/>
              <a:gd name="connsiteY58" fmla="*/ 4837419 h 5143500"/>
              <a:gd name="connsiteX59" fmla="*/ 746014 w 4572000"/>
              <a:gd name="connsiteY59" fmla="*/ 4843168 h 5143500"/>
              <a:gd name="connsiteX60" fmla="*/ 754203 w 4572000"/>
              <a:gd name="connsiteY60" fmla="*/ 4862009 h 5143500"/>
              <a:gd name="connsiteX61" fmla="*/ 754203 w 4572000"/>
              <a:gd name="connsiteY61" fmla="*/ 4944812 h 5143500"/>
              <a:gd name="connsiteX62" fmla="*/ 760019 w 4572000"/>
              <a:gd name="connsiteY62" fmla="*/ 4950628 h 5143500"/>
              <a:gd name="connsiteX63" fmla="*/ 786161 w 4572000"/>
              <a:gd name="connsiteY63" fmla="*/ 4950628 h 5143500"/>
              <a:gd name="connsiteX64" fmla="*/ 791977 w 4572000"/>
              <a:gd name="connsiteY64" fmla="*/ 4944812 h 5143500"/>
              <a:gd name="connsiteX65" fmla="*/ 791977 w 4572000"/>
              <a:gd name="connsiteY65" fmla="*/ 4944762 h 5143500"/>
              <a:gd name="connsiteX66" fmla="*/ 792396 w 4572000"/>
              <a:gd name="connsiteY66" fmla="*/ 4944348 h 5143500"/>
              <a:gd name="connsiteX67" fmla="*/ 792396 w 4572000"/>
              <a:gd name="connsiteY67" fmla="*/ 4857065 h 5143500"/>
              <a:gd name="connsiteX68" fmla="*/ 775798 w 4572000"/>
              <a:gd name="connsiteY68" fmla="*/ 4816682 h 5143500"/>
              <a:gd name="connsiteX69" fmla="*/ 775550 w 4572000"/>
              <a:gd name="connsiteY69" fmla="*/ 4816558 h 5143500"/>
              <a:gd name="connsiteX70" fmla="*/ 775487 w 4572000"/>
              <a:gd name="connsiteY70" fmla="*/ 4816471 h 5143500"/>
              <a:gd name="connsiteX71" fmla="*/ 725444 w 4572000"/>
              <a:gd name="connsiteY71" fmla="*/ 4802455 h 5143500"/>
              <a:gd name="connsiteX72" fmla="*/ 559835 w 4572000"/>
              <a:gd name="connsiteY72" fmla="*/ 4802455 h 5143500"/>
              <a:gd name="connsiteX73" fmla="*/ 529663 w 4572000"/>
              <a:gd name="connsiteY73" fmla="*/ 4807762 h 5143500"/>
              <a:gd name="connsiteX74" fmla="*/ 529596 w 4572000"/>
              <a:gd name="connsiteY74" fmla="*/ 4807805 h 5143500"/>
              <a:gd name="connsiteX75" fmla="*/ 528373 w 4572000"/>
              <a:gd name="connsiteY75" fmla="*/ 4808018 h 5143500"/>
              <a:gd name="connsiteX76" fmla="*/ 483587 w 4572000"/>
              <a:gd name="connsiteY76" fmla="*/ 4877877 h 5143500"/>
              <a:gd name="connsiteX77" fmla="*/ 526397 w 4572000"/>
              <a:gd name="connsiteY77" fmla="*/ 4947825 h 5143500"/>
              <a:gd name="connsiteX78" fmla="*/ 527143 w 4572000"/>
              <a:gd name="connsiteY78" fmla="*/ 4947947 h 5143500"/>
              <a:gd name="connsiteX79" fmla="*/ 527701 w 4572000"/>
              <a:gd name="connsiteY79" fmla="*/ 4948307 h 5143500"/>
              <a:gd name="connsiteX80" fmla="*/ 559257 w 4572000"/>
              <a:gd name="connsiteY80" fmla="*/ 4953533 h 5143500"/>
              <a:gd name="connsiteX81" fmla="*/ 617069 w 4572000"/>
              <a:gd name="connsiteY81" fmla="*/ 4941908 h 5143500"/>
              <a:gd name="connsiteX82" fmla="*/ 624338 w 4572000"/>
              <a:gd name="connsiteY82" fmla="*/ 4930284 h 5143500"/>
              <a:gd name="connsiteX83" fmla="*/ 624338 w 4572000"/>
              <a:gd name="connsiteY83" fmla="*/ 4824821 h 5143500"/>
              <a:gd name="connsiteX84" fmla="*/ 617069 w 4572000"/>
              <a:gd name="connsiteY84" fmla="*/ 4813204 h 5143500"/>
              <a:gd name="connsiteX85" fmla="*/ 559835 w 4572000"/>
              <a:gd name="connsiteY85" fmla="*/ 4802455 h 5143500"/>
              <a:gd name="connsiteX86" fmla="*/ 398012 w 4572000"/>
              <a:gd name="connsiteY86" fmla="*/ 4801292 h 5143500"/>
              <a:gd name="connsiteX87" fmla="*/ 396528 w 4572000"/>
              <a:gd name="connsiteY87" fmla="*/ 4801750 h 5143500"/>
              <a:gd name="connsiteX88" fmla="*/ 395863 w 4572000"/>
              <a:gd name="connsiteY88" fmla="*/ 4801582 h 5143500"/>
              <a:gd name="connsiteX89" fmla="*/ 331528 w 4572000"/>
              <a:gd name="connsiteY89" fmla="*/ 4853603 h 5143500"/>
              <a:gd name="connsiteX90" fmla="*/ 425688 w 4572000"/>
              <a:gd name="connsiteY90" fmla="*/ 4933656 h 5143500"/>
              <a:gd name="connsiteX91" fmla="*/ 423937 w 4572000"/>
              <a:gd name="connsiteY91" fmla="*/ 4944348 h 5143500"/>
              <a:gd name="connsiteX92" fmla="*/ 423646 w 4572000"/>
              <a:gd name="connsiteY92" fmla="*/ 4946089 h 5143500"/>
              <a:gd name="connsiteX93" fmla="*/ 428030 w 4572000"/>
              <a:gd name="connsiteY93" fmla="*/ 4950134 h 5143500"/>
              <a:gd name="connsiteX94" fmla="*/ 429441 w 4572000"/>
              <a:gd name="connsiteY94" fmla="*/ 4950134 h 5143500"/>
              <a:gd name="connsiteX95" fmla="*/ 429970 w 4572000"/>
              <a:gd name="connsiteY95" fmla="*/ 4950628 h 5143500"/>
              <a:gd name="connsiteX96" fmla="*/ 456122 w 4572000"/>
              <a:gd name="connsiteY96" fmla="*/ 4950628 h 5143500"/>
              <a:gd name="connsiteX97" fmla="*/ 463669 w 4572000"/>
              <a:gd name="connsiteY97" fmla="*/ 4944812 h 5143500"/>
              <a:gd name="connsiteX98" fmla="*/ 465995 w 4572000"/>
              <a:gd name="connsiteY98" fmla="*/ 4928255 h 5143500"/>
              <a:gd name="connsiteX99" fmla="*/ 372446 w 4572000"/>
              <a:gd name="connsiteY99" fmla="*/ 4850972 h 5143500"/>
              <a:gd name="connsiteX100" fmla="*/ 378875 w 4572000"/>
              <a:gd name="connsiteY100" fmla="*/ 4840371 h 5143500"/>
              <a:gd name="connsiteX101" fmla="*/ 395405 w 4572000"/>
              <a:gd name="connsiteY101" fmla="*/ 4836760 h 5143500"/>
              <a:gd name="connsiteX102" fmla="*/ 438849 w 4572000"/>
              <a:gd name="connsiteY102" fmla="*/ 4849557 h 5143500"/>
              <a:gd name="connsiteX103" fmla="*/ 443233 w 4572000"/>
              <a:gd name="connsiteY103" fmla="*/ 4850714 h 5143500"/>
              <a:gd name="connsiteX104" fmla="*/ 443816 w 4572000"/>
              <a:gd name="connsiteY104" fmla="*/ 4850348 h 5143500"/>
              <a:gd name="connsiteX105" fmla="*/ 445075 w 4572000"/>
              <a:gd name="connsiteY105" fmla="*/ 4850684 h 5143500"/>
              <a:gd name="connsiteX106" fmla="*/ 451468 w 4572000"/>
              <a:gd name="connsiteY106" fmla="*/ 4846616 h 5143500"/>
              <a:gd name="connsiteX107" fmla="*/ 460477 w 4572000"/>
              <a:gd name="connsiteY107" fmla="*/ 4827435 h 5143500"/>
              <a:gd name="connsiteX108" fmla="*/ 461640 w 4572000"/>
              <a:gd name="connsiteY108" fmla="*/ 4822502 h 5143500"/>
              <a:gd name="connsiteX109" fmla="*/ 458151 w 4572000"/>
              <a:gd name="connsiteY109" fmla="*/ 4816686 h 5143500"/>
              <a:gd name="connsiteX110" fmla="*/ 398012 w 4572000"/>
              <a:gd name="connsiteY110" fmla="*/ 4801292 h 5143500"/>
              <a:gd name="connsiteX111" fmla="*/ 1053744 w 4572000"/>
              <a:gd name="connsiteY111" fmla="*/ 4747249 h 5143500"/>
              <a:gd name="connsiteX112" fmla="*/ 994182 w 4572000"/>
              <a:gd name="connsiteY112" fmla="*/ 4808264 h 5143500"/>
              <a:gd name="connsiteX113" fmla="*/ 994182 w 4572000"/>
              <a:gd name="connsiteY113" fmla="*/ 4944812 h 5143500"/>
              <a:gd name="connsiteX114" fmla="*/ 999998 w 4572000"/>
              <a:gd name="connsiteY114" fmla="*/ 4950628 h 5143500"/>
              <a:gd name="connsiteX115" fmla="*/ 1025852 w 4572000"/>
              <a:gd name="connsiteY115" fmla="*/ 4950628 h 5143500"/>
              <a:gd name="connsiteX116" fmla="*/ 1026345 w 4572000"/>
              <a:gd name="connsiteY116" fmla="*/ 4950134 h 5143500"/>
              <a:gd name="connsiteX117" fmla="*/ 1027795 w 4572000"/>
              <a:gd name="connsiteY117" fmla="*/ 4950134 h 5143500"/>
              <a:gd name="connsiteX118" fmla="*/ 1033640 w 4572000"/>
              <a:gd name="connsiteY118" fmla="*/ 4944348 h 5143500"/>
              <a:gd name="connsiteX119" fmla="*/ 1033640 w 4572000"/>
              <a:gd name="connsiteY119" fmla="*/ 4837419 h 5143500"/>
              <a:gd name="connsiteX120" fmla="*/ 1070781 w 4572000"/>
              <a:gd name="connsiteY120" fmla="*/ 4837419 h 5143500"/>
              <a:gd name="connsiteX121" fmla="*/ 1076626 w 4572000"/>
              <a:gd name="connsiteY121" fmla="*/ 4831634 h 5143500"/>
              <a:gd name="connsiteX122" fmla="*/ 1076626 w 4572000"/>
              <a:gd name="connsiteY122" fmla="*/ 4811692 h 5143500"/>
              <a:gd name="connsiteX123" fmla="*/ 1070781 w 4572000"/>
              <a:gd name="connsiteY123" fmla="*/ 4805627 h 5143500"/>
              <a:gd name="connsiteX124" fmla="*/ 1068815 w 4572000"/>
              <a:gd name="connsiteY124" fmla="*/ 4805627 h 5143500"/>
              <a:gd name="connsiteX125" fmla="*/ 1068560 w 4572000"/>
              <a:gd name="connsiteY125" fmla="*/ 4805359 h 5143500"/>
              <a:gd name="connsiteX126" fmla="*/ 1033640 w 4572000"/>
              <a:gd name="connsiteY126" fmla="*/ 4805359 h 5143500"/>
              <a:gd name="connsiteX127" fmla="*/ 1033640 w 4572000"/>
              <a:gd name="connsiteY127" fmla="*/ 4802443 h 5143500"/>
              <a:gd name="connsiteX128" fmla="*/ 1056749 w 4572000"/>
              <a:gd name="connsiteY128" fmla="*/ 4778457 h 5143500"/>
              <a:gd name="connsiteX129" fmla="*/ 1071072 w 4572000"/>
              <a:gd name="connsiteY129" fmla="*/ 4779901 h 5143500"/>
              <a:gd name="connsiteX130" fmla="*/ 1076626 w 4572000"/>
              <a:gd name="connsiteY130" fmla="*/ 4774411 h 5143500"/>
              <a:gd name="connsiteX131" fmla="*/ 1079557 w 4572000"/>
              <a:gd name="connsiteY131" fmla="*/ 4759385 h 5143500"/>
              <a:gd name="connsiteX132" fmla="*/ 1080138 w 4572000"/>
              <a:gd name="connsiteY132" fmla="*/ 4755627 h 5143500"/>
              <a:gd name="connsiteX133" fmla="*/ 1074293 w 4572000"/>
              <a:gd name="connsiteY133" fmla="*/ 4749848 h 5143500"/>
              <a:gd name="connsiteX134" fmla="*/ 1072405 w 4572000"/>
              <a:gd name="connsiteY134" fmla="*/ 4749641 h 5143500"/>
              <a:gd name="connsiteX135" fmla="*/ 1072049 w 4572000"/>
              <a:gd name="connsiteY135" fmla="*/ 4749285 h 5143500"/>
              <a:gd name="connsiteX136" fmla="*/ 1053744 w 4572000"/>
              <a:gd name="connsiteY136" fmla="*/ 4747249 h 5143500"/>
              <a:gd name="connsiteX137" fmla="*/ 1115152 w 4572000"/>
              <a:gd name="connsiteY137" fmla="*/ 4747131 h 5143500"/>
              <a:gd name="connsiteX138" fmla="*/ 1095105 w 4572000"/>
              <a:gd name="connsiteY138" fmla="*/ 4767478 h 5143500"/>
              <a:gd name="connsiteX139" fmla="*/ 1116018 w 4572000"/>
              <a:gd name="connsiteY139" fmla="*/ 4787818 h 5143500"/>
              <a:gd name="connsiteX140" fmla="*/ 1136066 w 4572000"/>
              <a:gd name="connsiteY140" fmla="*/ 4767481 h 5143500"/>
              <a:gd name="connsiteX141" fmla="*/ 1115152 w 4572000"/>
              <a:gd name="connsiteY141" fmla="*/ 4747131 h 5143500"/>
              <a:gd name="connsiteX142" fmla="*/ 0 w 4572000"/>
              <a:gd name="connsiteY142" fmla="*/ 0 h 5143500"/>
              <a:gd name="connsiteX143" fmla="*/ 4572000 w 4572000"/>
              <a:gd name="connsiteY143" fmla="*/ 0 h 5143500"/>
              <a:gd name="connsiteX144" fmla="*/ 4572000 w 4572000"/>
              <a:gd name="connsiteY144" fmla="*/ 5143500 h 5143500"/>
              <a:gd name="connsiteX145" fmla="*/ 0 w 4572000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4572000" h="5143500">
                <a:moveTo>
                  <a:pt x="351364" y="4913481"/>
                </a:moveTo>
                <a:cubicBezTo>
                  <a:pt x="339457" y="4913486"/>
                  <a:pt x="331613" y="4921037"/>
                  <a:pt x="331614" y="4933530"/>
                </a:cubicBezTo>
                <a:cubicBezTo>
                  <a:pt x="331609" y="4945734"/>
                  <a:pt x="339457" y="4953580"/>
                  <a:pt x="352238" y="4953582"/>
                </a:cubicBezTo>
                <a:cubicBezTo>
                  <a:pt x="364154" y="4953577"/>
                  <a:pt x="371991" y="4945737"/>
                  <a:pt x="371988" y="4933533"/>
                </a:cubicBezTo>
                <a:cubicBezTo>
                  <a:pt x="371996" y="4921039"/>
                  <a:pt x="364154" y="4913482"/>
                  <a:pt x="351364" y="4913481"/>
                </a:cubicBezTo>
                <a:close/>
                <a:moveTo>
                  <a:pt x="892594" y="4837587"/>
                </a:moveTo>
                <a:lnTo>
                  <a:pt x="917847" y="4847631"/>
                </a:lnTo>
                <a:cubicBezTo>
                  <a:pt x="924092" y="4854457"/>
                  <a:pt x="927649" y="4864625"/>
                  <a:pt x="927649" y="4877990"/>
                </a:cubicBezTo>
                <a:cubicBezTo>
                  <a:pt x="927649" y="4891355"/>
                  <a:pt x="924092" y="4901524"/>
                  <a:pt x="918101" y="4908353"/>
                </a:cubicBezTo>
                <a:lnTo>
                  <a:pt x="894867" y="4918277"/>
                </a:lnTo>
                <a:lnTo>
                  <a:pt x="868934" y="4908080"/>
                </a:lnTo>
                <a:cubicBezTo>
                  <a:pt x="862646" y="4901288"/>
                  <a:pt x="859063" y="4891172"/>
                  <a:pt x="859063" y="4877877"/>
                </a:cubicBezTo>
                <a:cubicBezTo>
                  <a:pt x="859063" y="4864582"/>
                  <a:pt x="862646" y="4854468"/>
                  <a:pt x="868679" y="4847677"/>
                </a:cubicBezTo>
                <a:close/>
                <a:moveTo>
                  <a:pt x="559058" y="4837499"/>
                </a:moveTo>
                <a:lnTo>
                  <a:pt x="578337" y="4840021"/>
                </a:lnTo>
                <a:cubicBezTo>
                  <a:pt x="583310" y="4841465"/>
                  <a:pt x="585644" y="4843483"/>
                  <a:pt x="585644" y="4847817"/>
                </a:cubicBezTo>
                <a:lnTo>
                  <a:pt x="585644" y="4907937"/>
                </a:lnTo>
                <a:cubicBezTo>
                  <a:pt x="585644" y="4912270"/>
                  <a:pt x="583310" y="4914296"/>
                  <a:pt x="578337" y="4915741"/>
                </a:cubicBezTo>
                <a:lnTo>
                  <a:pt x="558606" y="4918322"/>
                </a:lnTo>
                <a:lnTo>
                  <a:pt x="534560" y="4909442"/>
                </a:lnTo>
                <a:cubicBezTo>
                  <a:pt x="527878" y="4902976"/>
                  <a:pt x="523520" y="4892806"/>
                  <a:pt x="523520" y="4877990"/>
                </a:cubicBezTo>
                <a:cubicBezTo>
                  <a:pt x="523520" y="4863173"/>
                  <a:pt x="527878" y="4853005"/>
                  <a:pt x="534560" y="4846542"/>
                </a:cubicBezTo>
                <a:close/>
                <a:moveTo>
                  <a:pt x="1101681" y="4805359"/>
                </a:moveTo>
                <a:cubicBezTo>
                  <a:pt x="1098193" y="4805359"/>
                  <a:pt x="1095865" y="4807677"/>
                  <a:pt x="1095865" y="4811167"/>
                </a:cubicBezTo>
                <a:lnTo>
                  <a:pt x="1095865" y="4944812"/>
                </a:lnTo>
                <a:cubicBezTo>
                  <a:pt x="1095865" y="4948301"/>
                  <a:pt x="1098193" y="4950628"/>
                  <a:pt x="1101681" y="4950628"/>
                </a:cubicBezTo>
                <a:lnTo>
                  <a:pt x="1127824" y="4950628"/>
                </a:lnTo>
                <a:lnTo>
                  <a:pt x="1128318" y="4950134"/>
                </a:lnTo>
                <a:lnTo>
                  <a:pt x="1130432" y="4950134"/>
                </a:lnTo>
                <a:cubicBezTo>
                  <a:pt x="1133944" y="4950134"/>
                  <a:pt x="1136286" y="4947819"/>
                  <a:pt x="1136286" y="4944348"/>
                </a:cubicBezTo>
                <a:lnTo>
                  <a:pt x="1136286" y="4811405"/>
                </a:lnTo>
                <a:cubicBezTo>
                  <a:pt x="1136286" y="4807934"/>
                  <a:pt x="1133944" y="4805627"/>
                  <a:pt x="1130432" y="4805627"/>
                </a:cubicBezTo>
                <a:lnTo>
                  <a:pt x="1128093" y="4805627"/>
                </a:lnTo>
                <a:lnTo>
                  <a:pt x="1127824" y="4805359"/>
                </a:lnTo>
                <a:close/>
                <a:moveTo>
                  <a:pt x="891921" y="4802455"/>
                </a:moveTo>
                <a:cubicBezTo>
                  <a:pt x="848338" y="4802455"/>
                  <a:pt x="819860" y="4834118"/>
                  <a:pt x="819860" y="4877990"/>
                </a:cubicBezTo>
                <a:cubicBezTo>
                  <a:pt x="819860" y="4921862"/>
                  <a:pt x="848338" y="4953533"/>
                  <a:pt x="893950" y="4953533"/>
                </a:cubicBezTo>
                <a:cubicBezTo>
                  <a:pt x="904845" y="4953533"/>
                  <a:pt x="914796" y="4951553"/>
                  <a:pt x="923594" y="4947899"/>
                </a:cubicBezTo>
                <a:lnTo>
                  <a:pt x="924072" y="4947569"/>
                </a:lnTo>
                <a:lnTo>
                  <a:pt x="924870" y="4947419"/>
                </a:lnTo>
                <a:cubicBezTo>
                  <a:pt x="951435" y="4936512"/>
                  <a:pt x="967554" y="4910608"/>
                  <a:pt x="967554" y="4877877"/>
                </a:cubicBezTo>
                <a:cubicBezTo>
                  <a:pt x="967554" y="4845146"/>
                  <a:pt x="951435" y="4819246"/>
                  <a:pt x="924009" y="4808342"/>
                </a:cubicBezTo>
                <a:lnTo>
                  <a:pt x="922788" y="4808122"/>
                </a:lnTo>
                <a:lnTo>
                  <a:pt x="922738" y="4808088"/>
                </a:lnTo>
                <a:cubicBezTo>
                  <a:pt x="913655" y="4804434"/>
                  <a:pt x="903323" y="4802455"/>
                  <a:pt x="891921" y="4802455"/>
                </a:cubicBezTo>
                <a:close/>
                <a:moveTo>
                  <a:pt x="725444" y="4802455"/>
                </a:moveTo>
                <a:cubicBezTo>
                  <a:pt x="708302" y="4802455"/>
                  <a:pt x="688256" y="4805359"/>
                  <a:pt x="667046" y="4812907"/>
                </a:cubicBezTo>
                <a:lnTo>
                  <a:pt x="666934" y="4813086"/>
                </a:lnTo>
                <a:lnTo>
                  <a:pt x="666651" y="4813136"/>
                </a:lnTo>
                <a:cubicBezTo>
                  <a:pt x="662557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8" y="4944785"/>
                </a:lnTo>
                <a:lnTo>
                  <a:pt x="659778" y="4944812"/>
                </a:lnTo>
                <a:cubicBezTo>
                  <a:pt x="659778" y="4948301"/>
                  <a:pt x="662104" y="4950628"/>
                  <a:pt x="665594" y="4950628"/>
                </a:cubicBezTo>
                <a:lnTo>
                  <a:pt x="691737" y="4950628"/>
                </a:lnTo>
                <a:cubicBezTo>
                  <a:pt x="695226" y="4950628"/>
                  <a:pt x="697553" y="4948301"/>
                  <a:pt x="697553" y="4944812"/>
                </a:cubicBezTo>
                <a:lnTo>
                  <a:pt x="697553" y="4847194"/>
                </a:lnTo>
                <a:lnTo>
                  <a:pt x="704449" y="4839717"/>
                </a:lnTo>
                <a:lnTo>
                  <a:pt x="726010" y="4837419"/>
                </a:lnTo>
                <a:lnTo>
                  <a:pt x="746014" y="4843168"/>
                </a:lnTo>
                <a:lnTo>
                  <a:pt x="754203" y="4862009"/>
                </a:lnTo>
                <a:lnTo>
                  <a:pt x="754203" y="4944812"/>
                </a:lnTo>
                <a:cubicBezTo>
                  <a:pt x="754203" y="4948301"/>
                  <a:pt x="756529" y="4950628"/>
                  <a:pt x="760019" y="4950628"/>
                </a:cubicBezTo>
                <a:lnTo>
                  <a:pt x="786161" y="4950628"/>
                </a:lnTo>
                <a:cubicBezTo>
                  <a:pt x="789651" y="4950628"/>
                  <a:pt x="791977" y="4948301"/>
                  <a:pt x="791977" y="4944812"/>
                </a:cubicBezTo>
                <a:lnTo>
                  <a:pt x="791977" y="4944762"/>
                </a:lnTo>
                <a:lnTo>
                  <a:pt x="792396" y="4944348"/>
                </a:lnTo>
                <a:lnTo>
                  <a:pt x="792396" y="4857065"/>
                </a:lnTo>
                <a:cubicBezTo>
                  <a:pt x="792396" y="4839438"/>
                  <a:pt x="786911" y="4825856"/>
                  <a:pt x="775798" y="4816682"/>
                </a:cubicBezTo>
                <a:lnTo>
                  <a:pt x="775550" y="4816558"/>
                </a:lnTo>
                <a:lnTo>
                  <a:pt x="775487" y="4816471"/>
                </a:lnTo>
                <a:cubicBezTo>
                  <a:pt x="764446" y="4807248"/>
                  <a:pt x="747813" y="4802455"/>
                  <a:pt x="725444" y="4802455"/>
                </a:cubicBezTo>
                <a:close/>
                <a:moveTo>
                  <a:pt x="559835" y="4802455"/>
                </a:moveTo>
                <a:cubicBezTo>
                  <a:pt x="548869" y="4802455"/>
                  <a:pt x="538720" y="4804289"/>
                  <a:pt x="529663" y="4807762"/>
                </a:cubicBezTo>
                <a:lnTo>
                  <a:pt x="529596" y="4807805"/>
                </a:lnTo>
                <a:lnTo>
                  <a:pt x="528373" y="4808018"/>
                </a:lnTo>
                <a:cubicBezTo>
                  <a:pt x="501027" y="4818381"/>
                  <a:pt x="483587" y="4843416"/>
                  <a:pt x="483587" y="4877877"/>
                </a:cubicBezTo>
                <a:cubicBezTo>
                  <a:pt x="483587" y="4912775"/>
                  <a:pt x="498720" y="4937596"/>
                  <a:pt x="526397" y="4947825"/>
                </a:cubicBezTo>
                <a:lnTo>
                  <a:pt x="527143" y="4947947"/>
                </a:lnTo>
                <a:lnTo>
                  <a:pt x="527701" y="4948307"/>
                </a:lnTo>
                <a:cubicBezTo>
                  <a:pt x="536867" y="4951735"/>
                  <a:pt x="547417" y="4953533"/>
                  <a:pt x="559257" y="4953533"/>
                </a:cubicBezTo>
                <a:cubicBezTo>
                  <a:pt x="578429" y="4953533"/>
                  <a:pt x="597023" y="4950331"/>
                  <a:pt x="617069" y="4941908"/>
                </a:cubicBezTo>
                <a:cubicBezTo>
                  <a:pt x="621723" y="4939879"/>
                  <a:pt x="624338" y="4936678"/>
                  <a:pt x="624338" y="4930284"/>
                </a:cubicBezTo>
                <a:lnTo>
                  <a:pt x="624338" y="4824821"/>
                </a:lnTo>
                <a:cubicBezTo>
                  <a:pt x="624338" y="4818138"/>
                  <a:pt x="621723" y="4814946"/>
                  <a:pt x="617069" y="4813204"/>
                </a:cubicBezTo>
                <a:cubicBezTo>
                  <a:pt x="597898" y="4805936"/>
                  <a:pt x="579880" y="4802455"/>
                  <a:pt x="559835" y="4802455"/>
                </a:cubicBezTo>
                <a:close/>
                <a:moveTo>
                  <a:pt x="398012" y="4801292"/>
                </a:moveTo>
                <a:lnTo>
                  <a:pt x="396528" y="4801750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7" y="4940590"/>
                  <a:pt x="423937" y="4944348"/>
                </a:cubicBezTo>
                <a:cubicBezTo>
                  <a:pt x="423646" y="4944931"/>
                  <a:pt x="423646" y="4945505"/>
                  <a:pt x="423646" y="4946089"/>
                </a:cubicBezTo>
                <a:cubicBezTo>
                  <a:pt x="423646" y="4948394"/>
                  <a:pt x="425107" y="4950134"/>
                  <a:pt x="428030" y="4950134"/>
                </a:cubicBezTo>
                <a:lnTo>
                  <a:pt x="429441" y="4950134"/>
                </a:lnTo>
                <a:lnTo>
                  <a:pt x="429970" y="4950628"/>
                </a:lnTo>
                <a:lnTo>
                  <a:pt x="456122" y="4950628"/>
                </a:lnTo>
                <a:cubicBezTo>
                  <a:pt x="460477" y="4950628"/>
                  <a:pt x="462217" y="4949176"/>
                  <a:pt x="463669" y="4944812"/>
                </a:cubicBezTo>
                <a:cubicBezTo>
                  <a:pt x="465419" y="4939879"/>
                  <a:pt x="465995" y="4933196"/>
                  <a:pt x="465995" y="4928255"/>
                </a:cubicBezTo>
                <a:cubicBezTo>
                  <a:pt x="465995" y="4862299"/>
                  <a:pt x="372446" y="4878177"/>
                  <a:pt x="372446" y="4850972"/>
                </a:cubicBezTo>
                <a:cubicBezTo>
                  <a:pt x="372446" y="4846523"/>
                  <a:pt x="374698" y="4842891"/>
                  <a:pt x="378875" y="4840371"/>
                </a:cubicBezTo>
                <a:lnTo>
                  <a:pt x="395405" y="4836760"/>
                </a:lnTo>
                <a:lnTo>
                  <a:pt x="438849" y="4849557"/>
                </a:lnTo>
                <a:cubicBezTo>
                  <a:pt x="440310" y="4850418"/>
                  <a:pt x="441772" y="4850714"/>
                  <a:pt x="443233" y="4850714"/>
                </a:cubicBezTo>
                <a:lnTo>
                  <a:pt x="443816" y="4850348"/>
                </a:lnTo>
                <a:lnTo>
                  <a:pt x="445075" y="4850684"/>
                </a:lnTo>
                <a:cubicBezTo>
                  <a:pt x="447690" y="4850684"/>
                  <a:pt x="450306" y="4849231"/>
                  <a:pt x="451468" y="4846616"/>
                </a:cubicBezTo>
                <a:lnTo>
                  <a:pt x="460477" y="4827435"/>
                </a:lnTo>
                <a:cubicBezTo>
                  <a:pt x="461318" y="4825652"/>
                  <a:pt x="461640" y="4823954"/>
                  <a:pt x="461640" y="4822502"/>
                </a:cubicBezTo>
                <a:cubicBezTo>
                  <a:pt x="461640" y="4820176"/>
                  <a:pt x="460486" y="4817858"/>
                  <a:pt x="458151" y="4816686"/>
                </a:cubicBezTo>
                <a:cubicBezTo>
                  <a:pt x="440142" y="4806226"/>
                  <a:pt x="418636" y="4801292"/>
                  <a:pt x="398012" y="4801292"/>
                </a:cubicBezTo>
                <a:close/>
                <a:moveTo>
                  <a:pt x="1053744" y="4747249"/>
                </a:moveTo>
                <a:cubicBezTo>
                  <a:pt x="1017718" y="4747249"/>
                  <a:pt x="994182" y="4766420"/>
                  <a:pt x="994182" y="4808264"/>
                </a:cubicBezTo>
                <a:lnTo>
                  <a:pt x="994182" y="4944812"/>
                </a:lnTo>
                <a:cubicBezTo>
                  <a:pt x="994182" y="4948301"/>
                  <a:pt x="996508" y="4950628"/>
                  <a:pt x="999998" y="4950628"/>
                </a:cubicBezTo>
                <a:lnTo>
                  <a:pt x="1025852" y="4950628"/>
                </a:lnTo>
                <a:lnTo>
                  <a:pt x="1026345" y="4950134"/>
                </a:lnTo>
                <a:lnTo>
                  <a:pt x="1027795" y="4950134"/>
                </a:lnTo>
                <a:cubicBezTo>
                  <a:pt x="1031307" y="4950134"/>
                  <a:pt x="1033640" y="4947819"/>
                  <a:pt x="1033640" y="4944348"/>
                </a:cubicBezTo>
                <a:lnTo>
                  <a:pt x="1033640" y="4837419"/>
                </a:lnTo>
                <a:lnTo>
                  <a:pt x="1070781" y="4837419"/>
                </a:lnTo>
                <a:cubicBezTo>
                  <a:pt x="1074584" y="4837419"/>
                  <a:pt x="1076626" y="4835105"/>
                  <a:pt x="1076626" y="4831634"/>
                </a:cubicBezTo>
                <a:lnTo>
                  <a:pt x="1076626" y="4811692"/>
                </a:lnTo>
                <a:cubicBezTo>
                  <a:pt x="1076626" y="4807934"/>
                  <a:pt x="1074584" y="4805627"/>
                  <a:pt x="1070781" y="4805627"/>
                </a:cubicBezTo>
                <a:lnTo>
                  <a:pt x="1068815" y="4805627"/>
                </a:lnTo>
                <a:lnTo>
                  <a:pt x="1068560" y="4805359"/>
                </a:lnTo>
                <a:lnTo>
                  <a:pt x="1033640" y="4805359"/>
                </a:lnTo>
                <a:lnTo>
                  <a:pt x="1033640" y="4802443"/>
                </a:lnTo>
                <a:cubicBezTo>
                  <a:pt x="1033640" y="4786548"/>
                  <a:pt x="1040664" y="4778457"/>
                  <a:pt x="1056749" y="4778457"/>
                </a:cubicBezTo>
                <a:cubicBezTo>
                  <a:pt x="1062594" y="4778457"/>
                  <a:pt x="1068893" y="4779901"/>
                  <a:pt x="1071072" y="4779901"/>
                </a:cubicBezTo>
                <a:cubicBezTo>
                  <a:pt x="1074584" y="4779901"/>
                  <a:pt x="1076046" y="4777882"/>
                  <a:pt x="1076626" y="4774411"/>
                </a:cubicBezTo>
                <a:lnTo>
                  <a:pt x="1079557" y="4759385"/>
                </a:lnTo>
                <a:cubicBezTo>
                  <a:pt x="1079814" y="4758050"/>
                  <a:pt x="1080138" y="4756876"/>
                  <a:pt x="1080138" y="4755627"/>
                </a:cubicBezTo>
                <a:cubicBezTo>
                  <a:pt x="1080138" y="4752417"/>
                  <a:pt x="1078387" y="4750711"/>
                  <a:pt x="1074293" y="4749848"/>
                </a:cubicBezTo>
                <a:lnTo>
                  <a:pt x="1072405" y="4749641"/>
                </a:lnTo>
                <a:lnTo>
                  <a:pt x="1072049" y="4749285"/>
                </a:lnTo>
                <a:cubicBezTo>
                  <a:pt x="1066233" y="4747834"/>
                  <a:pt x="1059942" y="4747249"/>
                  <a:pt x="1053744" y="4747249"/>
                </a:cubicBezTo>
                <a:close/>
                <a:moveTo>
                  <a:pt x="1115152" y="4747131"/>
                </a:moveTo>
                <a:cubicBezTo>
                  <a:pt x="1102948" y="4747139"/>
                  <a:pt x="1095102" y="4754688"/>
                  <a:pt x="1095105" y="4767478"/>
                </a:cubicBezTo>
                <a:cubicBezTo>
                  <a:pt x="1095102" y="4779971"/>
                  <a:pt x="1102948" y="4787811"/>
                  <a:pt x="1116018" y="4787818"/>
                </a:cubicBezTo>
                <a:cubicBezTo>
                  <a:pt x="1127933" y="4787817"/>
                  <a:pt x="1136071" y="4779974"/>
                  <a:pt x="1136066" y="4767481"/>
                </a:cubicBezTo>
                <a:cubicBezTo>
                  <a:pt x="1136071" y="4754690"/>
                  <a:pt x="1127933" y="4747137"/>
                  <a:pt x="1115152" y="4747131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0F580B26-21D6-4630-AE3D-FB359C1C883E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9216309" y="1901915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16B17374-481A-4CE6-8974-CA84865A03CA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9216309" y="4860087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1748CB09-B51F-4AC1-A908-AF052BFFAB5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AT-US-2204959-v1.0-07/2022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C28E44FC-CC99-479F-B667-CC0B04AA1BE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013E5883-7FD1-4C44-9ADB-EE49A08914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6602" y="2500883"/>
            <a:ext cx="4103397" cy="973837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32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EF5BFE2C-3893-4574-8E43-0A06788709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06602" y="3490415"/>
            <a:ext cx="4103397" cy="53795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3333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3333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E331AD24-1AAB-440A-917D-3BB2B9658DC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06602" y="4113499"/>
            <a:ext cx="4103397" cy="331244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l">
              <a:lnSpc>
                <a:spcPct val="100000"/>
              </a:lnSpc>
              <a:buFont typeface="Arial" panose="020B0604020202020204" pitchFamily="34" charset="0"/>
              <a:buNone/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7985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70" y="1686420"/>
            <a:ext cx="11226801" cy="4483693"/>
          </a:xfrm>
        </p:spPr>
        <p:txBody>
          <a:bodyPr/>
          <a:lstStyle>
            <a:lvl1pPr>
              <a:defRPr baseline="0"/>
            </a:lvl1pPr>
            <a:lvl3pPr marL="537580" indent="-177784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70" y="950403"/>
            <a:ext cx="11226801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66" indent="0">
              <a:buNone/>
              <a:defRPr/>
            </a:lvl2pPr>
            <a:lvl3pPr marL="914309" indent="0">
              <a:buNone/>
              <a:defRPr/>
            </a:lvl3pPr>
            <a:lvl4pPr marL="1371464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</p:spTree>
    <p:extLst>
      <p:ext uri="{BB962C8B-B14F-4D97-AF65-F5344CB8AC3E}">
        <p14:creationId xmlns:p14="http://schemas.microsoft.com/office/powerpoint/2010/main" val="1353693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full lens fl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6A8739B-0BAE-47AD-9C13-336270E71B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" y="7014832"/>
            <a:ext cx="11166475" cy="46355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058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6.Body_Text&amp;Visual_2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99EBFDD5-74E4-455D-9724-A19D96C2041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51323" y="2023118"/>
            <a:ext cx="5387175" cy="21544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Header IN ALLCAPS VERDANA 12PT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102EE37F-49C7-4E9B-9C3D-B4ED45E9471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095999" y="2023118"/>
            <a:ext cx="5387175" cy="21544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Header IN ALLCAPS VERDANA 12PT</a:t>
            </a:r>
          </a:p>
        </p:txBody>
      </p:sp>
      <p:sp>
        <p:nvSpPr>
          <p:cNvPr id="16" name="Espace réservé pour une image  3">
            <a:extLst>
              <a:ext uri="{FF2B5EF4-FFF2-40B4-BE49-F238E27FC236}">
                <a16:creationId xmlns:a16="http://schemas.microsoft.com/office/drawing/2014/main" id="{53ACCDE3-920E-4B07-97C0-4268A8816D7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44974" y="2384670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BA1D5B65-0ABB-49CE-B750-F373B8CD7F3C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096001" y="2384670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70B13997-CC8E-4CA7-BC9F-1E2FE9781D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56143" y="2410069"/>
            <a:ext cx="2782356" cy="4041235"/>
          </a:xfrm>
        </p:spPr>
        <p:txBody>
          <a:bodyPr wrap="square">
            <a:spAutoFit/>
          </a:bodyPr>
          <a:lstStyle>
            <a:lvl1pPr>
              <a:lnSpc>
                <a:spcPct val="125000"/>
              </a:lnSpc>
              <a:spcAft>
                <a:spcPts val="0"/>
              </a:spcAft>
              <a:defRPr lang="en-US" sz="16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63993" marR="0" indent="-263993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9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spcAft>
                <a:spcPts val="2400"/>
              </a:spcAft>
              <a:defRPr lang="en-US" sz="1200" b="0" i="0" kern="1200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Body copy goes here in Verdana 12pt</a:t>
            </a:r>
            <a:br>
              <a:rPr lang="en-US" noProof="0"/>
            </a:br>
            <a:r>
              <a:rPr lang="en-US" noProof="0"/>
              <a:t>Line 2</a:t>
            </a:r>
            <a:br>
              <a:rPr lang="en-US" noProof="0"/>
            </a:br>
            <a:r>
              <a:rPr lang="en-US" noProof="0"/>
              <a:t>Line 3</a:t>
            </a:r>
          </a:p>
          <a:p>
            <a:pPr lvl="0"/>
            <a:endParaRPr lang="en-US" noProof="0"/>
          </a:p>
          <a:p>
            <a:pPr lvl="1"/>
            <a:r>
              <a:rPr lang="en-US" noProof="0"/>
              <a:t>Bullet point level in Verdana 9pt</a:t>
            </a:r>
          </a:p>
          <a:p>
            <a:pPr lvl="1"/>
            <a:r>
              <a:rPr lang="en-US" noProof="0"/>
              <a:t>Bullet point 2</a:t>
            </a:r>
          </a:p>
          <a:p>
            <a:pPr lvl="1"/>
            <a:r>
              <a:rPr lang="en-US" noProof="0"/>
              <a:t>Bullet point 3</a:t>
            </a:r>
          </a:p>
          <a:p>
            <a:pPr lvl="1"/>
            <a:endParaRPr lang="en-US" noProof="0"/>
          </a:p>
          <a:p>
            <a:pPr lvl="2"/>
            <a:r>
              <a:rPr lang="en-US" noProof="0"/>
              <a:t>Body copy goes here in Verdana 9pt</a:t>
            </a:r>
            <a:br>
              <a:rPr lang="en-US" noProof="0"/>
            </a:br>
            <a:r>
              <a:rPr lang="en-US" noProof="0"/>
              <a:t>Line 2</a:t>
            </a:r>
            <a:br>
              <a:rPr lang="en-US" noProof="0"/>
            </a:br>
            <a:r>
              <a:rPr lang="en-US" noProof="0"/>
              <a:t>Line 3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2F116EA8-5445-47B3-947A-920077D67D8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719525" y="2410069"/>
            <a:ext cx="2782356" cy="4041235"/>
          </a:xfrm>
        </p:spPr>
        <p:txBody>
          <a:bodyPr wrap="square">
            <a:spAutoFit/>
          </a:bodyPr>
          <a:lstStyle>
            <a:lvl1pPr>
              <a:lnSpc>
                <a:spcPct val="125000"/>
              </a:lnSpc>
              <a:spcAft>
                <a:spcPts val="0"/>
              </a:spcAft>
              <a:defRPr lang="en-US" sz="16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63993" marR="0" indent="-263993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9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10000"/>
              </a:lnSpc>
              <a:spcAft>
                <a:spcPts val="2400"/>
              </a:spcAft>
              <a:defRPr lang="en-US" sz="1200" b="0" i="0" kern="1200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Body copy goes here in Verdana 12pt</a:t>
            </a:r>
            <a:br>
              <a:rPr lang="en-US" noProof="0"/>
            </a:br>
            <a:r>
              <a:rPr lang="en-US" noProof="0"/>
              <a:t>Line 2</a:t>
            </a:r>
            <a:br>
              <a:rPr lang="en-US" noProof="0"/>
            </a:br>
            <a:r>
              <a:rPr lang="en-US" noProof="0"/>
              <a:t>Line 3</a:t>
            </a:r>
          </a:p>
          <a:p>
            <a:pPr lvl="0"/>
            <a:endParaRPr lang="en-US" noProof="0"/>
          </a:p>
          <a:p>
            <a:pPr lvl="1"/>
            <a:r>
              <a:rPr lang="en-US" noProof="0"/>
              <a:t>Bullet point level in Verdana 9pt</a:t>
            </a:r>
          </a:p>
          <a:p>
            <a:pPr lvl="1"/>
            <a:r>
              <a:rPr lang="en-US" noProof="0"/>
              <a:t>Bullet point 2</a:t>
            </a:r>
          </a:p>
          <a:p>
            <a:pPr lvl="1"/>
            <a:r>
              <a:rPr lang="en-US" noProof="0"/>
              <a:t>Bullet point 3</a:t>
            </a:r>
          </a:p>
          <a:p>
            <a:pPr lvl="1"/>
            <a:endParaRPr lang="en-US" noProof="0"/>
          </a:p>
          <a:p>
            <a:pPr lvl="2"/>
            <a:r>
              <a:rPr lang="en-US" noProof="0"/>
              <a:t>Body copy goes here in Verdana 9pt</a:t>
            </a:r>
            <a:br>
              <a:rPr lang="en-US" noProof="0"/>
            </a:br>
            <a:r>
              <a:rPr lang="en-US" noProof="0"/>
              <a:t>Line 2</a:t>
            </a:r>
            <a:br>
              <a:rPr lang="en-US" noProof="0"/>
            </a:br>
            <a:r>
              <a:rPr lang="en-US" noProof="0"/>
              <a:t>Line 3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8E4E4032-9898-4A69-9D9C-6DB7CEE715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256545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BB316397-FA0F-41C2-AD67-87E804222296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44974" y="1577578"/>
            <a:ext cx="11282959" cy="33855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C5999050-FEA1-4953-AD6B-0FD3F0370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975" y="710401"/>
            <a:ext cx="11294059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6935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40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ext slide – 1 column, 28 pts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8" y="1777408"/>
            <a:ext cx="11226801" cy="4483693"/>
          </a:xfrm>
        </p:spPr>
        <p:txBody>
          <a:bodyPr/>
          <a:lstStyle>
            <a:lvl1pPr>
              <a:defRPr baseline="0"/>
            </a:lvl1pPr>
            <a:lvl3pPr marL="537607" indent="-177792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/>
              <a:t>Text 1st level, 20 pts</a:t>
            </a:r>
          </a:p>
          <a:p>
            <a:pPr lvl="1"/>
            <a:r>
              <a:rPr lang="en-US" noProof="0"/>
              <a:t>Text 2nd level, 18 pts</a:t>
            </a:r>
          </a:p>
          <a:p>
            <a:pPr lvl="2"/>
            <a:r>
              <a:rPr lang="en-US" noProof="0"/>
              <a:t>Text 3tf level, 16 pts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5430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55">
          <p15:clr>
            <a:srgbClr val="FBAE40"/>
          </p15:clr>
        </p15:guide>
        <p15:guide id="2" orient="horz" pos="2321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5569CE8B-04AF-468F-B800-7ECF09FD6C9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15443" y="2970600"/>
            <a:ext cx="3561116" cy="916800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A862ADC4-857D-4471-A871-BD1A38FB23C1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3473CDDD-9034-4972-B890-4C267C13F06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FA4CC508-0E53-4122-BCBD-4E37F1B71C30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89150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que 7">
            <a:extLst>
              <a:ext uri="{FF2B5EF4-FFF2-40B4-BE49-F238E27FC236}">
                <a16:creationId xmlns:a16="http://schemas.microsoft.com/office/drawing/2014/main" id="{AAE34BD0-96F3-484E-823D-846BCF7077C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15443" y="2970600"/>
            <a:ext cx="3561116" cy="91680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5ACEFF7-2172-4E31-95A5-2822B762DCC8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156C511D-58A1-442A-9FDB-13B83505C8E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33BB5D3E-7EA3-4217-8524-E90CF2B6AC62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913851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9131" y="4999905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9131" y="1548016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28661" y="444457"/>
            <a:ext cx="1134681" cy="29212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24400" y="6106773"/>
            <a:ext cx="2743200" cy="366183"/>
          </a:xfrm>
        </p:spPr>
        <p:txBody>
          <a:bodyPr/>
          <a:lstStyle/>
          <a:p>
            <a:r>
              <a:rPr lang="en-US" noProof="0"/>
              <a:t>XX . XX . XXXX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01F2B667-7264-4505-9F19-2E4AB44996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0778" y="1926301"/>
            <a:ext cx="9230445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56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57CD9AAA-CCAE-44AF-A224-A38A0B786F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778" y="3758157"/>
            <a:ext cx="9230445" cy="53795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56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F176A07A-C4FF-49D0-80C5-1B4F36FB3A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0778" y="4513248"/>
            <a:ext cx="9230445" cy="30838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765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28661" y="444457"/>
            <a:ext cx="1134681" cy="29212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XX . XX . XXXX</a:t>
            </a:r>
          </a:p>
        </p:txBody>
      </p:sp>
      <p:sp>
        <p:nvSpPr>
          <p:cNvPr id="17" name="Espace réservé du graphique SmartArt 18">
            <a:extLst>
              <a:ext uri="{FF2B5EF4-FFF2-40B4-BE49-F238E27FC236}">
                <a16:creationId xmlns:a16="http://schemas.microsoft.com/office/drawing/2014/main" id="{50E609C3-EA6F-468A-8B7C-CD27949FB33C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9130" y="4999905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Espace réservé du graphique SmartArt 19">
            <a:extLst>
              <a:ext uri="{FF2B5EF4-FFF2-40B4-BE49-F238E27FC236}">
                <a16:creationId xmlns:a16="http://schemas.microsoft.com/office/drawing/2014/main" id="{F155B637-1E1E-462B-9FBB-56FD4231172C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9130" y="1548016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287A90CB-3485-4D3D-9E87-2D7382BBBC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0778" y="1926301"/>
            <a:ext cx="9230445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56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54CCF570-9115-4289-839C-7FACBC619C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778" y="3758157"/>
            <a:ext cx="9230445" cy="53795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56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889FD9C7-FB39-4714-81F8-6EA37E5B621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0778" y="4513248"/>
            <a:ext cx="9230445" cy="30838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487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with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7886700" y="6046106"/>
            <a:ext cx="2743200" cy="366183"/>
          </a:xfrm>
        </p:spPr>
        <p:txBody>
          <a:bodyPr/>
          <a:lstStyle/>
          <a:p>
            <a:r>
              <a:rPr lang="fr-FR"/>
              <a:t>XX . XX . XXXX</a:t>
            </a:r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0961" y="516248"/>
            <a:ext cx="1134681" cy="29212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4F60E46E-0715-41F6-BEAC-C9C998D41D44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9190079" y="1763753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22" name="Espace réservé du graphique SmartArt 11">
            <a:extLst>
              <a:ext uri="{FF2B5EF4-FFF2-40B4-BE49-F238E27FC236}">
                <a16:creationId xmlns:a16="http://schemas.microsoft.com/office/drawing/2014/main" id="{2835F6F0-E601-40E8-8F65-7949A8AA2AF1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9190079" y="5169752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374847" cy="68580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CA236998-34E3-4BB4-B42A-72EE346C3C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83430" y="1926301"/>
            <a:ext cx="4949741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40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14179443-CD99-4560-A70A-CF3E60CA5C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83430" y="3758157"/>
            <a:ext cx="4949741" cy="53795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633150E7-212E-42D8-857F-00B727BB0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83430" y="4320498"/>
            <a:ext cx="4949741" cy="77066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284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Espace réservé du texte 5">
            <a:extLst>
              <a:ext uri="{FF2B5EF4-FFF2-40B4-BE49-F238E27FC236}">
                <a16:creationId xmlns:a16="http://schemas.microsoft.com/office/drawing/2014/main" id="{3FC96125-BC0F-469E-BA75-F4F2916D5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56171-4788-4B4A-B8DB-98CB348C66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3" y="1943799"/>
            <a:ext cx="11304000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E214CB94-27AF-41B7-A363-829DCFEBE7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11304000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7577A6-F24A-4B6D-B7E1-FB31180BD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70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with Image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7886700" y="6046106"/>
            <a:ext cx="2743200" cy="36618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XX . XX . XXXX</a:t>
            </a:r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0961" y="516248"/>
            <a:ext cx="1134681" cy="29212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374847" cy="68580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540F3744-EAB0-48D1-B7AE-720C8628C071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9190079" y="1763753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graphique SmartArt 11">
            <a:extLst>
              <a:ext uri="{FF2B5EF4-FFF2-40B4-BE49-F238E27FC236}">
                <a16:creationId xmlns:a16="http://schemas.microsoft.com/office/drawing/2014/main" id="{E04644FF-725F-4770-81BC-F016774228AE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9190079" y="5169752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08D4AEF-2960-4B86-98AA-A0ABA6675B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83430" y="1926301"/>
            <a:ext cx="4949741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40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C4763866-3F61-4A13-9CE8-9A542B41F4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83430" y="3758157"/>
            <a:ext cx="4949741" cy="53795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A2D6EFB-94B5-487C-A9CF-03E9B187D6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83430" y="4320498"/>
            <a:ext cx="4949741" cy="77066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8871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with Visual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AE9FBA9E-4B66-4D19-A4F1-FA106CF943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3703" y="710399"/>
            <a:ext cx="6342328" cy="551059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27273C0-D926-4FC2-8437-9B297AC1E951}"/>
              </a:ext>
            </a:extLst>
          </p:cNvPr>
          <p:cNvCxnSpPr>
            <a:cxnSpLocks/>
          </p:cNvCxnSpPr>
          <p:nvPr userDrawn="1"/>
        </p:nvCxnSpPr>
        <p:spPr>
          <a:xfrm>
            <a:off x="1070063" y="1864891"/>
            <a:ext cx="0" cy="43561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0F580B26-21D6-4630-AE3D-FB359C1C883E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035052" y="2095106"/>
            <a:ext cx="70019" cy="6951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208746F7-3CD2-431F-B427-E3AA9BF36F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fr-FR" err="1"/>
              <a:t>internal</a:t>
            </a:r>
            <a:r>
              <a:rPr lang="fr-FR"/>
              <a:t> us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76DFA8B-7FBD-4F98-B6B6-233EDD231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3DFCED8-0EB4-4E57-BDC7-7349EFC7B9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031" y="1960151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C565C352-3015-43B5-A637-271B7D2E32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2031" y="2753672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0" name="Espace réservé du texte 17">
            <a:extLst>
              <a:ext uri="{FF2B5EF4-FFF2-40B4-BE49-F238E27FC236}">
                <a16:creationId xmlns:a16="http://schemas.microsoft.com/office/drawing/2014/main" id="{15EE83C4-9859-4D9B-B740-E8C01E8B93D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031" y="3541323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74DFA65F-CF7B-4ED8-8B06-C50BE51634C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031" y="4334844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5" name="Espace réservé du texte 17">
            <a:extLst>
              <a:ext uri="{FF2B5EF4-FFF2-40B4-BE49-F238E27FC236}">
                <a16:creationId xmlns:a16="http://schemas.microsoft.com/office/drawing/2014/main" id="{DBF18F57-A4B6-4E01-8E41-3610197C40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031" y="5128365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41" name="Espace réservé du texte 17">
            <a:extLst>
              <a:ext uri="{FF2B5EF4-FFF2-40B4-BE49-F238E27FC236}">
                <a16:creationId xmlns:a16="http://schemas.microsoft.com/office/drawing/2014/main" id="{8AFC591C-8E4C-4797-84E6-9ACB86CA696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1335449" y="231140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0" name="Espace réservé du texte 17">
            <a:extLst>
              <a:ext uri="{FF2B5EF4-FFF2-40B4-BE49-F238E27FC236}">
                <a16:creationId xmlns:a16="http://schemas.microsoft.com/office/drawing/2014/main" id="{591A3E6F-3476-47ED-8C55-9EBB33F42A52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1334265" y="195799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5" name="Espace réservé du texte 17">
            <a:extLst>
              <a:ext uri="{FF2B5EF4-FFF2-40B4-BE49-F238E27FC236}">
                <a16:creationId xmlns:a16="http://schemas.microsoft.com/office/drawing/2014/main" id="{BD354000-934E-43A7-902B-EB0E6D553454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1335449" y="311106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6" name="Espace réservé du texte 17">
            <a:extLst>
              <a:ext uri="{FF2B5EF4-FFF2-40B4-BE49-F238E27FC236}">
                <a16:creationId xmlns:a16="http://schemas.microsoft.com/office/drawing/2014/main" id="{674EDB5F-2360-4BDB-B4A4-F38BB2AA2521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1334265" y="2757656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7" name="Espace réservé du texte 17">
            <a:extLst>
              <a:ext uri="{FF2B5EF4-FFF2-40B4-BE49-F238E27FC236}">
                <a16:creationId xmlns:a16="http://schemas.microsoft.com/office/drawing/2014/main" id="{6764734A-FBDE-4D25-92A5-672B3F6077B1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1335449" y="389473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8" name="Espace réservé du texte 17">
            <a:extLst>
              <a:ext uri="{FF2B5EF4-FFF2-40B4-BE49-F238E27FC236}">
                <a16:creationId xmlns:a16="http://schemas.microsoft.com/office/drawing/2014/main" id="{6227F425-D7E4-4B90-9761-EBF3BCC4260C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1334265" y="3541327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9" name="Espace réservé du texte 17">
            <a:extLst>
              <a:ext uri="{FF2B5EF4-FFF2-40B4-BE49-F238E27FC236}">
                <a16:creationId xmlns:a16="http://schemas.microsoft.com/office/drawing/2014/main" id="{7A462145-8066-42E6-AEC7-B7FFB4004F0C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1335449" y="4686405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0" name="Espace réservé du texte 17">
            <a:extLst>
              <a:ext uri="{FF2B5EF4-FFF2-40B4-BE49-F238E27FC236}">
                <a16:creationId xmlns:a16="http://schemas.microsoft.com/office/drawing/2014/main" id="{BDFC2A5C-1456-4E38-B7B8-53173C4D7226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1334265" y="4332995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1" name="Espace réservé du texte 17">
            <a:extLst>
              <a:ext uri="{FF2B5EF4-FFF2-40B4-BE49-F238E27FC236}">
                <a16:creationId xmlns:a16="http://schemas.microsoft.com/office/drawing/2014/main" id="{6F16C3B8-AA5D-4F33-B410-8B2C3BE2F2C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1335449" y="548576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2" name="Espace réservé du texte 17">
            <a:extLst>
              <a:ext uri="{FF2B5EF4-FFF2-40B4-BE49-F238E27FC236}">
                <a16:creationId xmlns:a16="http://schemas.microsoft.com/office/drawing/2014/main" id="{8C14FA2C-33DC-431E-9580-8F16A359800B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1334265" y="513235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77699B-FF9F-427C-87A3-B361DFAB5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4731723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858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Large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208746F7-3CD2-431F-B427-E3AA9BF36F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76DFA8B-7FBD-4F98-B6B6-233EDD231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32" name="Connecteur droit 13">
            <a:extLst>
              <a:ext uri="{FF2B5EF4-FFF2-40B4-BE49-F238E27FC236}">
                <a16:creationId xmlns:a16="http://schemas.microsoft.com/office/drawing/2014/main" id="{7BC19BBF-83CB-4541-9E5A-ACB3379B1867}"/>
              </a:ext>
            </a:extLst>
          </p:cNvPr>
          <p:cNvCxnSpPr>
            <a:cxnSpLocks/>
          </p:cNvCxnSpPr>
          <p:nvPr userDrawn="1"/>
        </p:nvCxnSpPr>
        <p:spPr>
          <a:xfrm>
            <a:off x="1770509" y="1864891"/>
            <a:ext cx="0" cy="43561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eur droit 13">
            <a:extLst>
              <a:ext uri="{FF2B5EF4-FFF2-40B4-BE49-F238E27FC236}">
                <a16:creationId xmlns:a16="http://schemas.microsoft.com/office/drawing/2014/main" id="{85FA77DC-6A39-4C5E-A7D7-DB530C4F2170}"/>
              </a:ext>
            </a:extLst>
          </p:cNvPr>
          <p:cNvCxnSpPr>
            <a:cxnSpLocks/>
          </p:cNvCxnSpPr>
          <p:nvPr userDrawn="1"/>
        </p:nvCxnSpPr>
        <p:spPr>
          <a:xfrm>
            <a:off x="7256625" y="1864891"/>
            <a:ext cx="0" cy="43561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Espace réservé du graphique SmartArt 11">
            <a:extLst>
              <a:ext uri="{FF2B5EF4-FFF2-40B4-BE49-F238E27FC236}">
                <a16:creationId xmlns:a16="http://schemas.microsoft.com/office/drawing/2014/main" id="{23BA7E43-84CF-486A-BB7B-AD1F2F009C79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736092" y="2095106"/>
            <a:ext cx="70019" cy="6951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97" name="Espace réservé du texte 17">
            <a:extLst>
              <a:ext uri="{FF2B5EF4-FFF2-40B4-BE49-F238E27FC236}">
                <a16:creationId xmlns:a16="http://schemas.microsoft.com/office/drawing/2014/main" id="{9CDF02F4-4E8C-4E89-B7C0-915F018992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43071" y="1960151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99" name="Espace réservé du texte 17">
            <a:extLst>
              <a:ext uri="{FF2B5EF4-FFF2-40B4-BE49-F238E27FC236}">
                <a16:creationId xmlns:a16="http://schemas.microsoft.com/office/drawing/2014/main" id="{E9841E24-6A28-4ABC-A6CA-596885012B8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3071" y="2753672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01" name="Espace réservé du texte 17">
            <a:extLst>
              <a:ext uri="{FF2B5EF4-FFF2-40B4-BE49-F238E27FC236}">
                <a16:creationId xmlns:a16="http://schemas.microsoft.com/office/drawing/2014/main" id="{E6201C6B-3D61-415D-A81D-394F193593E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43071" y="3541323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03" name="Espace réservé du texte 17">
            <a:extLst>
              <a:ext uri="{FF2B5EF4-FFF2-40B4-BE49-F238E27FC236}">
                <a16:creationId xmlns:a16="http://schemas.microsoft.com/office/drawing/2014/main" id="{E49EEF33-C71E-40D1-9265-9BA472F3F6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43071" y="4334844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05" name="Espace réservé du texte 17">
            <a:extLst>
              <a:ext uri="{FF2B5EF4-FFF2-40B4-BE49-F238E27FC236}">
                <a16:creationId xmlns:a16="http://schemas.microsoft.com/office/drawing/2014/main" id="{C11A4F59-2FB0-4630-BFDA-22FD2B5576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43071" y="5128365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17" name="Espace réservé du texte 17">
            <a:extLst>
              <a:ext uri="{FF2B5EF4-FFF2-40B4-BE49-F238E27FC236}">
                <a16:creationId xmlns:a16="http://schemas.microsoft.com/office/drawing/2014/main" id="{BC549DD2-19EC-48CD-B888-45BB704C417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8593" y="1960151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19" name="Espace réservé du texte 17">
            <a:extLst>
              <a:ext uri="{FF2B5EF4-FFF2-40B4-BE49-F238E27FC236}">
                <a16:creationId xmlns:a16="http://schemas.microsoft.com/office/drawing/2014/main" id="{3F60EFF9-C152-4B38-A6F0-B6187C82AB3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628593" y="2753672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21" name="Espace réservé du texte 17">
            <a:extLst>
              <a:ext uri="{FF2B5EF4-FFF2-40B4-BE49-F238E27FC236}">
                <a16:creationId xmlns:a16="http://schemas.microsoft.com/office/drawing/2014/main" id="{79245E80-9388-4650-8049-250CA8CADB1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28593" y="3541323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23" name="Espace réservé du texte 17">
            <a:extLst>
              <a:ext uri="{FF2B5EF4-FFF2-40B4-BE49-F238E27FC236}">
                <a16:creationId xmlns:a16="http://schemas.microsoft.com/office/drawing/2014/main" id="{38029C0C-186F-4AA6-979B-ED3F5FBAE0C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628593" y="4334844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25" name="Espace réservé du texte 17">
            <a:extLst>
              <a:ext uri="{FF2B5EF4-FFF2-40B4-BE49-F238E27FC236}">
                <a16:creationId xmlns:a16="http://schemas.microsoft.com/office/drawing/2014/main" id="{59A7AD2F-F568-4503-8FF8-3611A660ED3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628593" y="5128365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71" name="Espace réservé du texte 17">
            <a:extLst>
              <a:ext uri="{FF2B5EF4-FFF2-40B4-BE49-F238E27FC236}">
                <a16:creationId xmlns:a16="http://schemas.microsoft.com/office/drawing/2014/main" id="{F76009EF-0F43-4873-91C8-26C6B0F441B3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2035303" y="231140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2" name="Espace réservé du texte 17">
            <a:extLst>
              <a:ext uri="{FF2B5EF4-FFF2-40B4-BE49-F238E27FC236}">
                <a16:creationId xmlns:a16="http://schemas.microsoft.com/office/drawing/2014/main" id="{992C4267-8843-489C-BDA2-A7781B549C30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2034119" y="195799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3" name="Espace réservé du texte 17">
            <a:extLst>
              <a:ext uri="{FF2B5EF4-FFF2-40B4-BE49-F238E27FC236}">
                <a16:creationId xmlns:a16="http://schemas.microsoft.com/office/drawing/2014/main" id="{9CA0A737-645E-4692-BFD7-8713830985A3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2035303" y="311106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4" name="Espace réservé du texte 17">
            <a:extLst>
              <a:ext uri="{FF2B5EF4-FFF2-40B4-BE49-F238E27FC236}">
                <a16:creationId xmlns:a16="http://schemas.microsoft.com/office/drawing/2014/main" id="{EA07FC7D-0F48-467E-8265-8D2A4C7B25A5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2034119" y="2757656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5" name="Espace réservé du texte 17">
            <a:extLst>
              <a:ext uri="{FF2B5EF4-FFF2-40B4-BE49-F238E27FC236}">
                <a16:creationId xmlns:a16="http://schemas.microsoft.com/office/drawing/2014/main" id="{DABC94A2-3D6D-4C3B-99A1-FC80D5B47E01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2035303" y="389473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6" name="Espace réservé du texte 17">
            <a:extLst>
              <a:ext uri="{FF2B5EF4-FFF2-40B4-BE49-F238E27FC236}">
                <a16:creationId xmlns:a16="http://schemas.microsoft.com/office/drawing/2014/main" id="{B4BCF212-97F3-4F17-A4AF-E597DA1C4089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2034119" y="3541327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7" name="Espace réservé du texte 17">
            <a:extLst>
              <a:ext uri="{FF2B5EF4-FFF2-40B4-BE49-F238E27FC236}">
                <a16:creationId xmlns:a16="http://schemas.microsoft.com/office/drawing/2014/main" id="{F13BA32F-5E1A-4B20-A528-9672446426DC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2035303" y="4686405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8" name="Espace réservé du texte 17">
            <a:extLst>
              <a:ext uri="{FF2B5EF4-FFF2-40B4-BE49-F238E27FC236}">
                <a16:creationId xmlns:a16="http://schemas.microsoft.com/office/drawing/2014/main" id="{920DB0B3-FD86-49D8-8F01-632DB0B0FF76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2034119" y="4332995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9" name="Espace réservé du texte 17">
            <a:extLst>
              <a:ext uri="{FF2B5EF4-FFF2-40B4-BE49-F238E27FC236}">
                <a16:creationId xmlns:a16="http://schemas.microsoft.com/office/drawing/2014/main" id="{4D5C3EB0-17A1-481A-8460-030803714A3D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>
          <a:xfrm>
            <a:off x="2035303" y="548576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0" name="Espace réservé du texte 17">
            <a:extLst>
              <a:ext uri="{FF2B5EF4-FFF2-40B4-BE49-F238E27FC236}">
                <a16:creationId xmlns:a16="http://schemas.microsoft.com/office/drawing/2014/main" id="{0BC088B8-2A7D-4727-84F1-67BE7254C140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>
          <a:xfrm>
            <a:off x="2034119" y="513235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1" name="Espace réservé du texte 17">
            <a:extLst>
              <a:ext uri="{FF2B5EF4-FFF2-40B4-BE49-F238E27FC236}">
                <a16:creationId xmlns:a16="http://schemas.microsoft.com/office/drawing/2014/main" id="{5599C94B-1830-4681-A21C-C4AE3554868C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7521417" y="231140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2" name="Espace réservé du texte 17">
            <a:extLst>
              <a:ext uri="{FF2B5EF4-FFF2-40B4-BE49-F238E27FC236}">
                <a16:creationId xmlns:a16="http://schemas.microsoft.com/office/drawing/2014/main" id="{81F4A82C-0719-446F-8204-BD600D39DFA6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>
          <a:xfrm>
            <a:off x="7520233" y="195799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3" name="Espace réservé du texte 17">
            <a:extLst>
              <a:ext uri="{FF2B5EF4-FFF2-40B4-BE49-F238E27FC236}">
                <a16:creationId xmlns:a16="http://schemas.microsoft.com/office/drawing/2014/main" id="{EF8088A7-1D02-466E-84F0-04D764E0DC4A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7521417" y="311106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4" name="Espace réservé du texte 17">
            <a:extLst>
              <a:ext uri="{FF2B5EF4-FFF2-40B4-BE49-F238E27FC236}">
                <a16:creationId xmlns:a16="http://schemas.microsoft.com/office/drawing/2014/main" id="{134577A3-254A-436C-A36C-9D09814B41BB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>
          <a:xfrm>
            <a:off x="7520233" y="2757656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5" name="Espace réservé du texte 17">
            <a:extLst>
              <a:ext uri="{FF2B5EF4-FFF2-40B4-BE49-F238E27FC236}">
                <a16:creationId xmlns:a16="http://schemas.microsoft.com/office/drawing/2014/main" id="{694AA9F3-9F80-43B9-A7BA-A659EBF77CF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7521417" y="389473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6" name="Espace réservé du texte 17">
            <a:extLst>
              <a:ext uri="{FF2B5EF4-FFF2-40B4-BE49-F238E27FC236}">
                <a16:creationId xmlns:a16="http://schemas.microsoft.com/office/drawing/2014/main" id="{3123C134-847A-48A6-8622-283EBB3AFAB9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>
          <a:xfrm>
            <a:off x="7520233" y="3541327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7" name="Espace réservé du texte 17">
            <a:extLst>
              <a:ext uri="{FF2B5EF4-FFF2-40B4-BE49-F238E27FC236}">
                <a16:creationId xmlns:a16="http://schemas.microsoft.com/office/drawing/2014/main" id="{EF32F629-964F-4E14-B1A1-6D678560527F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>
          <a:xfrm>
            <a:off x="7521417" y="4686405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8" name="Espace réservé du texte 17">
            <a:extLst>
              <a:ext uri="{FF2B5EF4-FFF2-40B4-BE49-F238E27FC236}">
                <a16:creationId xmlns:a16="http://schemas.microsoft.com/office/drawing/2014/main" id="{A0F44CD8-F3DD-47F9-9C0A-6B207499E86A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>
          <a:xfrm>
            <a:off x="7520233" y="4332995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9" name="Espace réservé du texte 17">
            <a:extLst>
              <a:ext uri="{FF2B5EF4-FFF2-40B4-BE49-F238E27FC236}">
                <a16:creationId xmlns:a16="http://schemas.microsoft.com/office/drawing/2014/main" id="{816D3008-850F-471B-9C7E-0D97399B5925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>
          <a:xfrm>
            <a:off x="7521417" y="548576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0" name="Espace réservé du texte 17">
            <a:extLst>
              <a:ext uri="{FF2B5EF4-FFF2-40B4-BE49-F238E27FC236}">
                <a16:creationId xmlns:a16="http://schemas.microsoft.com/office/drawing/2014/main" id="{D3020D71-C5F3-42BA-8874-B40E24DB7F68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7520233" y="513235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399648-618D-47E8-91C9-BB5481D98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8584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8963" y="4159250"/>
            <a:ext cx="1271271" cy="1257300"/>
          </a:xfrm>
          <a:prstGeom prst="rect">
            <a:avLst/>
          </a:prstGeom>
        </p:spPr>
      </p:pic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3200" b="1" noProof="0" dirty="0">
                <a:solidFill>
                  <a:schemeClr val="tx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443199"/>
          </a:xfrm>
        </p:spPr>
        <p:txBody>
          <a:bodyPr/>
          <a:lstStyle>
            <a:lvl1pPr>
              <a:lnSpc>
                <a:spcPct val="90000"/>
              </a:lnSpc>
              <a:defRPr lang="fr-FR" sz="3200" b="1" i="0" kern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1494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Dark)">
    <p:bg>
      <p:bgPr>
        <a:solidFill>
          <a:srgbClr val="1E0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8963" y="4159250"/>
            <a:ext cx="1271271" cy="1257300"/>
          </a:xfrm>
          <a:prstGeom prst="rect">
            <a:avLst/>
          </a:prstGeom>
        </p:spPr>
      </p:pic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3200" b="1" noProof="0" dirty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26F07BC6-BD1D-4953-9F45-D190CB67B2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443199"/>
          </a:xfrm>
        </p:spPr>
        <p:txBody>
          <a:bodyPr/>
          <a:lstStyle>
            <a:lvl1pPr>
              <a:lnSpc>
                <a:spcPct val="90000"/>
              </a:lnSpc>
              <a:defRPr lang="fr-FR" sz="3200" b="1" i="0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1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0" kern="1200" cap="all" baseline="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264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ve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B3CF0ECB-30FF-45DD-8A41-5DF28038CBA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" y="0"/>
            <a:ext cx="12191999" cy="6858000"/>
          </a:xfrm>
          <a:custGeom>
            <a:avLst/>
            <a:gdLst>
              <a:gd name="connsiteX0" fmla="*/ 351363 w 9143999"/>
              <a:gd name="connsiteY0" fmla="*/ 4913481 h 5143500"/>
              <a:gd name="connsiteX1" fmla="*/ 331613 w 9143999"/>
              <a:gd name="connsiteY1" fmla="*/ 4933530 h 5143500"/>
              <a:gd name="connsiteX2" fmla="*/ 352237 w 9143999"/>
              <a:gd name="connsiteY2" fmla="*/ 4953582 h 5143500"/>
              <a:gd name="connsiteX3" fmla="*/ 371987 w 9143999"/>
              <a:gd name="connsiteY3" fmla="*/ 4933533 h 5143500"/>
              <a:gd name="connsiteX4" fmla="*/ 351363 w 9143999"/>
              <a:gd name="connsiteY4" fmla="*/ 4913481 h 5143500"/>
              <a:gd name="connsiteX5" fmla="*/ 892593 w 9143999"/>
              <a:gd name="connsiteY5" fmla="*/ 4837587 h 5143500"/>
              <a:gd name="connsiteX6" fmla="*/ 917846 w 9143999"/>
              <a:gd name="connsiteY6" fmla="*/ 4847631 h 5143500"/>
              <a:gd name="connsiteX7" fmla="*/ 927648 w 9143999"/>
              <a:gd name="connsiteY7" fmla="*/ 4877990 h 5143500"/>
              <a:gd name="connsiteX8" fmla="*/ 918100 w 9143999"/>
              <a:gd name="connsiteY8" fmla="*/ 4908353 h 5143500"/>
              <a:gd name="connsiteX9" fmla="*/ 894866 w 9143999"/>
              <a:gd name="connsiteY9" fmla="*/ 4918277 h 5143500"/>
              <a:gd name="connsiteX10" fmla="*/ 868933 w 9143999"/>
              <a:gd name="connsiteY10" fmla="*/ 4908080 h 5143500"/>
              <a:gd name="connsiteX11" fmla="*/ 859062 w 9143999"/>
              <a:gd name="connsiteY11" fmla="*/ 4877877 h 5143500"/>
              <a:gd name="connsiteX12" fmla="*/ 868678 w 9143999"/>
              <a:gd name="connsiteY12" fmla="*/ 4847677 h 5143500"/>
              <a:gd name="connsiteX13" fmla="*/ 559057 w 9143999"/>
              <a:gd name="connsiteY13" fmla="*/ 4837499 h 5143500"/>
              <a:gd name="connsiteX14" fmla="*/ 578336 w 9143999"/>
              <a:gd name="connsiteY14" fmla="*/ 4840021 h 5143500"/>
              <a:gd name="connsiteX15" fmla="*/ 585643 w 9143999"/>
              <a:gd name="connsiteY15" fmla="*/ 4847817 h 5143500"/>
              <a:gd name="connsiteX16" fmla="*/ 585643 w 9143999"/>
              <a:gd name="connsiteY16" fmla="*/ 4907937 h 5143500"/>
              <a:gd name="connsiteX17" fmla="*/ 578336 w 9143999"/>
              <a:gd name="connsiteY17" fmla="*/ 4915741 h 5143500"/>
              <a:gd name="connsiteX18" fmla="*/ 558605 w 9143999"/>
              <a:gd name="connsiteY18" fmla="*/ 4918322 h 5143500"/>
              <a:gd name="connsiteX19" fmla="*/ 534559 w 9143999"/>
              <a:gd name="connsiteY19" fmla="*/ 4909442 h 5143500"/>
              <a:gd name="connsiteX20" fmla="*/ 523519 w 9143999"/>
              <a:gd name="connsiteY20" fmla="*/ 4877990 h 5143500"/>
              <a:gd name="connsiteX21" fmla="*/ 534559 w 9143999"/>
              <a:gd name="connsiteY21" fmla="*/ 4846542 h 5143500"/>
              <a:gd name="connsiteX22" fmla="*/ 1101680 w 9143999"/>
              <a:gd name="connsiteY22" fmla="*/ 4805359 h 5143500"/>
              <a:gd name="connsiteX23" fmla="*/ 1095864 w 9143999"/>
              <a:gd name="connsiteY23" fmla="*/ 4811167 h 5143500"/>
              <a:gd name="connsiteX24" fmla="*/ 1095864 w 9143999"/>
              <a:gd name="connsiteY24" fmla="*/ 4944812 h 5143500"/>
              <a:gd name="connsiteX25" fmla="*/ 1101680 w 9143999"/>
              <a:gd name="connsiteY25" fmla="*/ 4950628 h 5143500"/>
              <a:gd name="connsiteX26" fmla="*/ 1127823 w 9143999"/>
              <a:gd name="connsiteY26" fmla="*/ 4950628 h 5143500"/>
              <a:gd name="connsiteX27" fmla="*/ 1128318 w 9143999"/>
              <a:gd name="connsiteY27" fmla="*/ 4950134 h 5143500"/>
              <a:gd name="connsiteX28" fmla="*/ 1130431 w 9143999"/>
              <a:gd name="connsiteY28" fmla="*/ 4950134 h 5143500"/>
              <a:gd name="connsiteX29" fmla="*/ 1136285 w 9143999"/>
              <a:gd name="connsiteY29" fmla="*/ 4944348 h 5143500"/>
              <a:gd name="connsiteX30" fmla="*/ 1136285 w 9143999"/>
              <a:gd name="connsiteY30" fmla="*/ 4811405 h 5143500"/>
              <a:gd name="connsiteX31" fmla="*/ 1130431 w 9143999"/>
              <a:gd name="connsiteY31" fmla="*/ 4805627 h 5143500"/>
              <a:gd name="connsiteX32" fmla="*/ 1128092 w 9143999"/>
              <a:gd name="connsiteY32" fmla="*/ 4805627 h 5143500"/>
              <a:gd name="connsiteX33" fmla="*/ 1127823 w 9143999"/>
              <a:gd name="connsiteY33" fmla="*/ 4805359 h 5143500"/>
              <a:gd name="connsiteX34" fmla="*/ 891920 w 9143999"/>
              <a:gd name="connsiteY34" fmla="*/ 4802455 h 5143500"/>
              <a:gd name="connsiteX35" fmla="*/ 819859 w 9143999"/>
              <a:gd name="connsiteY35" fmla="*/ 4877990 h 5143500"/>
              <a:gd name="connsiteX36" fmla="*/ 893949 w 9143999"/>
              <a:gd name="connsiteY36" fmla="*/ 4953533 h 5143500"/>
              <a:gd name="connsiteX37" fmla="*/ 923593 w 9143999"/>
              <a:gd name="connsiteY37" fmla="*/ 4947899 h 5143500"/>
              <a:gd name="connsiteX38" fmla="*/ 924071 w 9143999"/>
              <a:gd name="connsiteY38" fmla="*/ 4947569 h 5143500"/>
              <a:gd name="connsiteX39" fmla="*/ 924870 w 9143999"/>
              <a:gd name="connsiteY39" fmla="*/ 4947419 h 5143500"/>
              <a:gd name="connsiteX40" fmla="*/ 967553 w 9143999"/>
              <a:gd name="connsiteY40" fmla="*/ 4877877 h 5143500"/>
              <a:gd name="connsiteX41" fmla="*/ 924008 w 9143999"/>
              <a:gd name="connsiteY41" fmla="*/ 4808342 h 5143500"/>
              <a:gd name="connsiteX42" fmla="*/ 922787 w 9143999"/>
              <a:gd name="connsiteY42" fmla="*/ 4808121 h 5143500"/>
              <a:gd name="connsiteX43" fmla="*/ 922737 w 9143999"/>
              <a:gd name="connsiteY43" fmla="*/ 4808088 h 5143500"/>
              <a:gd name="connsiteX44" fmla="*/ 891920 w 9143999"/>
              <a:gd name="connsiteY44" fmla="*/ 4802455 h 5143500"/>
              <a:gd name="connsiteX45" fmla="*/ 725443 w 9143999"/>
              <a:gd name="connsiteY45" fmla="*/ 4802455 h 5143500"/>
              <a:gd name="connsiteX46" fmla="*/ 667045 w 9143999"/>
              <a:gd name="connsiteY46" fmla="*/ 4812907 h 5143500"/>
              <a:gd name="connsiteX47" fmla="*/ 666933 w 9143999"/>
              <a:gd name="connsiteY47" fmla="*/ 4813086 h 5143500"/>
              <a:gd name="connsiteX48" fmla="*/ 666650 w 9143999"/>
              <a:gd name="connsiteY48" fmla="*/ 4813136 h 5143500"/>
              <a:gd name="connsiteX49" fmla="*/ 659335 w 9143999"/>
              <a:gd name="connsiteY49" fmla="*/ 4824699 h 5143500"/>
              <a:gd name="connsiteX50" fmla="*/ 659335 w 9143999"/>
              <a:gd name="connsiteY50" fmla="*/ 4944348 h 5143500"/>
              <a:gd name="connsiteX51" fmla="*/ 659777 w 9143999"/>
              <a:gd name="connsiteY51" fmla="*/ 4944785 h 5143500"/>
              <a:gd name="connsiteX52" fmla="*/ 659777 w 9143999"/>
              <a:gd name="connsiteY52" fmla="*/ 4944812 h 5143500"/>
              <a:gd name="connsiteX53" fmla="*/ 665593 w 9143999"/>
              <a:gd name="connsiteY53" fmla="*/ 4950628 h 5143500"/>
              <a:gd name="connsiteX54" fmla="*/ 691736 w 9143999"/>
              <a:gd name="connsiteY54" fmla="*/ 4950628 h 5143500"/>
              <a:gd name="connsiteX55" fmla="*/ 697552 w 9143999"/>
              <a:gd name="connsiteY55" fmla="*/ 4944812 h 5143500"/>
              <a:gd name="connsiteX56" fmla="*/ 697552 w 9143999"/>
              <a:gd name="connsiteY56" fmla="*/ 4847194 h 5143500"/>
              <a:gd name="connsiteX57" fmla="*/ 704448 w 9143999"/>
              <a:gd name="connsiteY57" fmla="*/ 4839717 h 5143500"/>
              <a:gd name="connsiteX58" fmla="*/ 726010 w 9143999"/>
              <a:gd name="connsiteY58" fmla="*/ 4837419 h 5143500"/>
              <a:gd name="connsiteX59" fmla="*/ 746013 w 9143999"/>
              <a:gd name="connsiteY59" fmla="*/ 4843168 h 5143500"/>
              <a:gd name="connsiteX60" fmla="*/ 754202 w 9143999"/>
              <a:gd name="connsiteY60" fmla="*/ 4862009 h 5143500"/>
              <a:gd name="connsiteX61" fmla="*/ 754202 w 9143999"/>
              <a:gd name="connsiteY61" fmla="*/ 4944812 h 5143500"/>
              <a:gd name="connsiteX62" fmla="*/ 760018 w 9143999"/>
              <a:gd name="connsiteY62" fmla="*/ 4950628 h 5143500"/>
              <a:gd name="connsiteX63" fmla="*/ 786160 w 9143999"/>
              <a:gd name="connsiteY63" fmla="*/ 4950628 h 5143500"/>
              <a:gd name="connsiteX64" fmla="*/ 791976 w 9143999"/>
              <a:gd name="connsiteY64" fmla="*/ 4944812 h 5143500"/>
              <a:gd name="connsiteX65" fmla="*/ 791976 w 9143999"/>
              <a:gd name="connsiteY65" fmla="*/ 4944762 h 5143500"/>
              <a:gd name="connsiteX66" fmla="*/ 792395 w 9143999"/>
              <a:gd name="connsiteY66" fmla="*/ 4944348 h 5143500"/>
              <a:gd name="connsiteX67" fmla="*/ 792395 w 9143999"/>
              <a:gd name="connsiteY67" fmla="*/ 4857065 h 5143500"/>
              <a:gd name="connsiteX68" fmla="*/ 775798 w 9143999"/>
              <a:gd name="connsiteY68" fmla="*/ 4816682 h 5143500"/>
              <a:gd name="connsiteX69" fmla="*/ 775543 w 9143999"/>
              <a:gd name="connsiteY69" fmla="*/ 4816611 h 5143500"/>
              <a:gd name="connsiteX70" fmla="*/ 775486 w 9143999"/>
              <a:gd name="connsiteY70" fmla="*/ 4816471 h 5143500"/>
              <a:gd name="connsiteX71" fmla="*/ 725443 w 9143999"/>
              <a:gd name="connsiteY71" fmla="*/ 4802455 h 5143500"/>
              <a:gd name="connsiteX72" fmla="*/ 559834 w 9143999"/>
              <a:gd name="connsiteY72" fmla="*/ 4802455 h 5143500"/>
              <a:gd name="connsiteX73" fmla="*/ 529662 w 9143999"/>
              <a:gd name="connsiteY73" fmla="*/ 4807762 h 5143500"/>
              <a:gd name="connsiteX74" fmla="*/ 529594 w 9143999"/>
              <a:gd name="connsiteY74" fmla="*/ 4807805 h 5143500"/>
              <a:gd name="connsiteX75" fmla="*/ 528372 w 9143999"/>
              <a:gd name="connsiteY75" fmla="*/ 4808018 h 5143500"/>
              <a:gd name="connsiteX76" fmla="*/ 483586 w 9143999"/>
              <a:gd name="connsiteY76" fmla="*/ 4877877 h 5143500"/>
              <a:gd name="connsiteX77" fmla="*/ 526397 w 9143999"/>
              <a:gd name="connsiteY77" fmla="*/ 4947825 h 5143500"/>
              <a:gd name="connsiteX78" fmla="*/ 527142 w 9143999"/>
              <a:gd name="connsiteY78" fmla="*/ 4947947 h 5143500"/>
              <a:gd name="connsiteX79" fmla="*/ 527700 w 9143999"/>
              <a:gd name="connsiteY79" fmla="*/ 4948307 h 5143500"/>
              <a:gd name="connsiteX80" fmla="*/ 559257 w 9143999"/>
              <a:gd name="connsiteY80" fmla="*/ 4953533 h 5143500"/>
              <a:gd name="connsiteX81" fmla="*/ 617069 w 9143999"/>
              <a:gd name="connsiteY81" fmla="*/ 4941908 h 5143500"/>
              <a:gd name="connsiteX82" fmla="*/ 624337 w 9143999"/>
              <a:gd name="connsiteY82" fmla="*/ 4930284 h 5143500"/>
              <a:gd name="connsiteX83" fmla="*/ 624337 w 9143999"/>
              <a:gd name="connsiteY83" fmla="*/ 4824821 h 5143500"/>
              <a:gd name="connsiteX84" fmla="*/ 617069 w 9143999"/>
              <a:gd name="connsiteY84" fmla="*/ 4813204 h 5143500"/>
              <a:gd name="connsiteX85" fmla="*/ 559834 w 9143999"/>
              <a:gd name="connsiteY85" fmla="*/ 4802455 h 5143500"/>
              <a:gd name="connsiteX86" fmla="*/ 398011 w 9143999"/>
              <a:gd name="connsiteY86" fmla="*/ 4801292 h 5143500"/>
              <a:gd name="connsiteX87" fmla="*/ 395922 w 9143999"/>
              <a:gd name="connsiteY87" fmla="*/ 4801589 h 5143500"/>
              <a:gd name="connsiteX88" fmla="*/ 395863 w 9143999"/>
              <a:gd name="connsiteY88" fmla="*/ 4801582 h 5143500"/>
              <a:gd name="connsiteX89" fmla="*/ 331528 w 9143999"/>
              <a:gd name="connsiteY89" fmla="*/ 4853603 h 5143500"/>
              <a:gd name="connsiteX90" fmla="*/ 425688 w 9143999"/>
              <a:gd name="connsiteY90" fmla="*/ 4933656 h 5143500"/>
              <a:gd name="connsiteX91" fmla="*/ 423936 w 9143999"/>
              <a:gd name="connsiteY91" fmla="*/ 4944348 h 5143500"/>
              <a:gd name="connsiteX92" fmla="*/ 423645 w 9143999"/>
              <a:gd name="connsiteY92" fmla="*/ 4946089 h 5143500"/>
              <a:gd name="connsiteX93" fmla="*/ 428029 w 9143999"/>
              <a:gd name="connsiteY93" fmla="*/ 4950134 h 5143500"/>
              <a:gd name="connsiteX94" fmla="*/ 429440 w 9143999"/>
              <a:gd name="connsiteY94" fmla="*/ 4950134 h 5143500"/>
              <a:gd name="connsiteX95" fmla="*/ 429969 w 9143999"/>
              <a:gd name="connsiteY95" fmla="*/ 4950628 h 5143500"/>
              <a:gd name="connsiteX96" fmla="*/ 456121 w 9143999"/>
              <a:gd name="connsiteY96" fmla="*/ 4950628 h 5143500"/>
              <a:gd name="connsiteX97" fmla="*/ 463668 w 9143999"/>
              <a:gd name="connsiteY97" fmla="*/ 4944812 h 5143500"/>
              <a:gd name="connsiteX98" fmla="*/ 465995 w 9143999"/>
              <a:gd name="connsiteY98" fmla="*/ 4928255 h 5143500"/>
              <a:gd name="connsiteX99" fmla="*/ 372445 w 9143999"/>
              <a:gd name="connsiteY99" fmla="*/ 4850972 h 5143500"/>
              <a:gd name="connsiteX100" fmla="*/ 378874 w 9143999"/>
              <a:gd name="connsiteY100" fmla="*/ 4840371 h 5143500"/>
              <a:gd name="connsiteX101" fmla="*/ 395404 w 9143999"/>
              <a:gd name="connsiteY101" fmla="*/ 4836760 h 5143500"/>
              <a:gd name="connsiteX102" fmla="*/ 438848 w 9143999"/>
              <a:gd name="connsiteY102" fmla="*/ 4849557 h 5143500"/>
              <a:gd name="connsiteX103" fmla="*/ 443232 w 9143999"/>
              <a:gd name="connsiteY103" fmla="*/ 4850714 h 5143500"/>
              <a:gd name="connsiteX104" fmla="*/ 443815 w 9143999"/>
              <a:gd name="connsiteY104" fmla="*/ 4850347 h 5143500"/>
              <a:gd name="connsiteX105" fmla="*/ 445074 w 9143999"/>
              <a:gd name="connsiteY105" fmla="*/ 4850684 h 5143500"/>
              <a:gd name="connsiteX106" fmla="*/ 451467 w 9143999"/>
              <a:gd name="connsiteY106" fmla="*/ 4846616 h 5143500"/>
              <a:gd name="connsiteX107" fmla="*/ 460476 w 9143999"/>
              <a:gd name="connsiteY107" fmla="*/ 4827435 h 5143500"/>
              <a:gd name="connsiteX108" fmla="*/ 461639 w 9143999"/>
              <a:gd name="connsiteY108" fmla="*/ 4822502 h 5143500"/>
              <a:gd name="connsiteX109" fmla="*/ 458150 w 9143999"/>
              <a:gd name="connsiteY109" fmla="*/ 4816686 h 5143500"/>
              <a:gd name="connsiteX110" fmla="*/ 398011 w 9143999"/>
              <a:gd name="connsiteY110" fmla="*/ 4801292 h 5143500"/>
              <a:gd name="connsiteX111" fmla="*/ 1053743 w 9143999"/>
              <a:gd name="connsiteY111" fmla="*/ 4747249 h 5143500"/>
              <a:gd name="connsiteX112" fmla="*/ 994181 w 9143999"/>
              <a:gd name="connsiteY112" fmla="*/ 4808264 h 5143500"/>
              <a:gd name="connsiteX113" fmla="*/ 994181 w 9143999"/>
              <a:gd name="connsiteY113" fmla="*/ 4944812 h 5143500"/>
              <a:gd name="connsiteX114" fmla="*/ 999997 w 9143999"/>
              <a:gd name="connsiteY114" fmla="*/ 4950628 h 5143500"/>
              <a:gd name="connsiteX115" fmla="*/ 1025851 w 9143999"/>
              <a:gd name="connsiteY115" fmla="*/ 4950628 h 5143500"/>
              <a:gd name="connsiteX116" fmla="*/ 1026345 w 9143999"/>
              <a:gd name="connsiteY116" fmla="*/ 4950134 h 5143500"/>
              <a:gd name="connsiteX117" fmla="*/ 1027794 w 9143999"/>
              <a:gd name="connsiteY117" fmla="*/ 4950134 h 5143500"/>
              <a:gd name="connsiteX118" fmla="*/ 1033639 w 9143999"/>
              <a:gd name="connsiteY118" fmla="*/ 4944348 h 5143500"/>
              <a:gd name="connsiteX119" fmla="*/ 1033639 w 9143999"/>
              <a:gd name="connsiteY119" fmla="*/ 4837419 h 5143500"/>
              <a:gd name="connsiteX120" fmla="*/ 1070780 w 9143999"/>
              <a:gd name="connsiteY120" fmla="*/ 4837419 h 5143500"/>
              <a:gd name="connsiteX121" fmla="*/ 1076625 w 9143999"/>
              <a:gd name="connsiteY121" fmla="*/ 4831634 h 5143500"/>
              <a:gd name="connsiteX122" fmla="*/ 1076625 w 9143999"/>
              <a:gd name="connsiteY122" fmla="*/ 4811692 h 5143500"/>
              <a:gd name="connsiteX123" fmla="*/ 1070780 w 9143999"/>
              <a:gd name="connsiteY123" fmla="*/ 4805627 h 5143500"/>
              <a:gd name="connsiteX124" fmla="*/ 1068815 w 9143999"/>
              <a:gd name="connsiteY124" fmla="*/ 4805627 h 5143500"/>
              <a:gd name="connsiteX125" fmla="*/ 1068559 w 9143999"/>
              <a:gd name="connsiteY125" fmla="*/ 4805359 h 5143500"/>
              <a:gd name="connsiteX126" fmla="*/ 1033639 w 9143999"/>
              <a:gd name="connsiteY126" fmla="*/ 4805359 h 5143500"/>
              <a:gd name="connsiteX127" fmla="*/ 1033639 w 9143999"/>
              <a:gd name="connsiteY127" fmla="*/ 4802443 h 5143500"/>
              <a:gd name="connsiteX128" fmla="*/ 1056748 w 9143999"/>
              <a:gd name="connsiteY128" fmla="*/ 4778457 h 5143500"/>
              <a:gd name="connsiteX129" fmla="*/ 1071071 w 9143999"/>
              <a:gd name="connsiteY129" fmla="*/ 4779901 h 5143500"/>
              <a:gd name="connsiteX130" fmla="*/ 1076625 w 9143999"/>
              <a:gd name="connsiteY130" fmla="*/ 4774411 h 5143500"/>
              <a:gd name="connsiteX131" fmla="*/ 1079556 w 9143999"/>
              <a:gd name="connsiteY131" fmla="*/ 4759385 h 5143500"/>
              <a:gd name="connsiteX132" fmla="*/ 1080138 w 9143999"/>
              <a:gd name="connsiteY132" fmla="*/ 4755627 h 5143500"/>
              <a:gd name="connsiteX133" fmla="*/ 1074293 w 9143999"/>
              <a:gd name="connsiteY133" fmla="*/ 4749848 h 5143500"/>
              <a:gd name="connsiteX134" fmla="*/ 1072404 w 9143999"/>
              <a:gd name="connsiteY134" fmla="*/ 4749641 h 5143500"/>
              <a:gd name="connsiteX135" fmla="*/ 1072049 w 9143999"/>
              <a:gd name="connsiteY135" fmla="*/ 4749285 h 5143500"/>
              <a:gd name="connsiteX136" fmla="*/ 1053743 w 9143999"/>
              <a:gd name="connsiteY136" fmla="*/ 4747249 h 5143500"/>
              <a:gd name="connsiteX137" fmla="*/ 1115151 w 9143999"/>
              <a:gd name="connsiteY137" fmla="*/ 4747131 h 5143500"/>
              <a:gd name="connsiteX138" fmla="*/ 1095104 w 9143999"/>
              <a:gd name="connsiteY138" fmla="*/ 4767478 h 5143500"/>
              <a:gd name="connsiteX139" fmla="*/ 1116017 w 9143999"/>
              <a:gd name="connsiteY139" fmla="*/ 4787818 h 5143500"/>
              <a:gd name="connsiteX140" fmla="*/ 1136065 w 9143999"/>
              <a:gd name="connsiteY140" fmla="*/ 4767481 h 5143500"/>
              <a:gd name="connsiteX141" fmla="*/ 1115151 w 9143999"/>
              <a:gd name="connsiteY141" fmla="*/ 4747131 h 5143500"/>
              <a:gd name="connsiteX142" fmla="*/ 0 w 9143999"/>
              <a:gd name="connsiteY142" fmla="*/ 0 h 5143500"/>
              <a:gd name="connsiteX143" fmla="*/ 9143999 w 9143999"/>
              <a:gd name="connsiteY143" fmla="*/ 0 h 5143500"/>
              <a:gd name="connsiteX144" fmla="*/ 9143999 w 9143999"/>
              <a:gd name="connsiteY144" fmla="*/ 5143500 h 5143500"/>
              <a:gd name="connsiteX145" fmla="*/ 0 w 9143999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9143999" h="5143500">
                <a:moveTo>
                  <a:pt x="351363" y="4913481"/>
                </a:moveTo>
                <a:cubicBezTo>
                  <a:pt x="339456" y="4913486"/>
                  <a:pt x="331612" y="4921037"/>
                  <a:pt x="331613" y="4933530"/>
                </a:cubicBezTo>
                <a:cubicBezTo>
                  <a:pt x="331608" y="4945734"/>
                  <a:pt x="339456" y="4953580"/>
                  <a:pt x="352237" y="4953582"/>
                </a:cubicBezTo>
                <a:cubicBezTo>
                  <a:pt x="364153" y="4953577"/>
                  <a:pt x="371990" y="4945737"/>
                  <a:pt x="371987" y="4933533"/>
                </a:cubicBezTo>
                <a:cubicBezTo>
                  <a:pt x="371996" y="4921039"/>
                  <a:pt x="364153" y="4913482"/>
                  <a:pt x="351363" y="4913481"/>
                </a:cubicBezTo>
                <a:close/>
                <a:moveTo>
                  <a:pt x="892593" y="4837587"/>
                </a:moveTo>
                <a:lnTo>
                  <a:pt x="917846" y="4847631"/>
                </a:lnTo>
                <a:cubicBezTo>
                  <a:pt x="924091" y="4854457"/>
                  <a:pt x="927648" y="4864625"/>
                  <a:pt x="927648" y="4877990"/>
                </a:cubicBezTo>
                <a:cubicBezTo>
                  <a:pt x="927648" y="4891355"/>
                  <a:pt x="924091" y="4901524"/>
                  <a:pt x="918100" y="4908353"/>
                </a:cubicBezTo>
                <a:lnTo>
                  <a:pt x="894866" y="4918277"/>
                </a:lnTo>
                <a:lnTo>
                  <a:pt x="868933" y="4908080"/>
                </a:lnTo>
                <a:cubicBezTo>
                  <a:pt x="862645" y="4901288"/>
                  <a:pt x="859062" y="4891172"/>
                  <a:pt x="859062" y="4877877"/>
                </a:cubicBezTo>
                <a:cubicBezTo>
                  <a:pt x="859062" y="4864582"/>
                  <a:pt x="862645" y="4854468"/>
                  <a:pt x="868678" y="4847677"/>
                </a:cubicBezTo>
                <a:close/>
                <a:moveTo>
                  <a:pt x="559057" y="4837499"/>
                </a:moveTo>
                <a:lnTo>
                  <a:pt x="578336" y="4840021"/>
                </a:lnTo>
                <a:cubicBezTo>
                  <a:pt x="583309" y="4841465"/>
                  <a:pt x="585643" y="4843483"/>
                  <a:pt x="585643" y="4847817"/>
                </a:cubicBezTo>
                <a:lnTo>
                  <a:pt x="585643" y="4907937"/>
                </a:lnTo>
                <a:cubicBezTo>
                  <a:pt x="585643" y="4912270"/>
                  <a:pt x="583309" y="4914296"/>
                  <a:pt x="578336" y="4915741"/>
                </a:cubicBezTo>
                <a:lnTo>
                  <a:pt x="558605" y="4918322"/>
                </a:lnTo>
                <a:lnTo>
                  <a:pt x="534559" y="4909442"/>
                </a:lnTo>
                <a:cubicBezTo>
                  <a:pt x="527877" y="4902976"/>
                  <a:pt x="523519" y="4892806"/>
                  <a:pt x="523519" y="4877990"/>
                </a:cubicBezTo>
                <a:cubicBezTo>
                  <a:pt x="523519" y="4863173"/>
                  <a:pt x="527877" y="4853005"/>
                  <a:pt x="534559" y="4846542"/>
                </a:cubicBezTo>
                <a:close/>
                <a:moveTo>
                  <a:pt x="1101680" y="4805359"/>
                </a:moveTo>
                <a:cubicBezTo>
                  <a:pt x="1098192" y="4805359"/>
                  <a:pt x="1095864" y="4807677"/>
                  <a:pt x="1095864" y="4811167"/>
                </a:cubicBezTo>
                <a:lnTo>
                  <a:pt x="1095864" y="4944812"/>
                </a:lnTo>
                <a:cubicBezTo>
                  <a:pt x="1095864" y="4948301"/>
                  <a:pt x="1098192" y="4950628"/>
                  <a:pt x="1101680" y="4950628"/>
                </a:cubicBezTo>
                <a:lnTo>
                  <a:pt x="1127823" y="4950628"/>
                </a:lnTo>
                <a:lnTo>
                  <a:pt x="1128318" y="4950134"/>
                </a:lnTo>
                <a:lnTo>
                  <a:pt x="1130431" y="4950134"/>
                </a:lnTo>
                <a:cubicBezTo>
                  <a:pt x="1133944" y="4950134"/>
                  <a:pt x="1136285" y="4947819"/>
                  <a:pt x="1136285" y="4944348"/>
                </a:cubicBezTo>
                <a:lnTo>
                  <a:pt x="1136285" y="4811405"/>
                </a:lnTo>
                <a:cubicBezTo>
                  <a:pt x="1136285" y="4807934"/>
                  <a:pt x="1133944" y="4805627"/>
                  <a:pt x="1130431" y="4805627"/>
                </a:cubicBezTo>
                <a:lnTo>
                  <a:pt x="1128092" y="4805627"/>
                </a:lnTo>
                <a:lnTo>
                  <a:pt x="1127823" y="4805359"/>
                </a:lnTo>
                <a:close/>
                <a:moveTo>
                  <a:pt x="891920" y="4802455"/>
                </a:moveTo>
                <a:cubicBezTo>
                  <a:pt x="848337" y="4802455"/>
                  <a:pt x="819859" y="4834118"/>
                  <a:pt x="819859" y="4877990"/>
                </a:cubicBezTo>
                <a:cubicBezTo>
                  <a:pt x="819859" y="4921862"/>
                  <a:pt x="848337" y="4953533"/>
                  <a:pt x="893949" y="4953533"/>
                </a:cubicBezTo>
                <a:cubicBezTo>
                  <a:pt x="904845" y="4953533"/>
                  <a:pt x="914796" y="4951553"/>
                  <a:pt x="923593" y="4947899"/>
                </a:cubicBezTo>
                <a:lnTo>
                  <a:pt x="924071" y="4947569"/>
                </a:lnTo>
                <a:lnTo>
                  <a:pt x="924870" y="4947419"/>
                </a:lnTo>
                <a:cubicBezTo>
                  <a:pt x="951435" y="4936512"/>
                  <a:pt x="967553" y="4910608"/>
                  <a:pt x="967553" y="4877877"/>
                </a:cubicBezTo>
                <a:cubicBezTo>
                  <a:pt x="967553" y="4845146"/>
                  <a:pt x="951435" y="4819246"/>
                  <a:pt x="924008" y="4808342"/>
                </a:cubicBezTo>
                <a:lnTo>
                  <a:pt x="922787" y="4808121"/>
                </a:lnTo>
                <a:lnTo>
                  <a:pt x="922737" y="4808088"/>
                </a:lnTo>
                <a:cubicBezTo>
                  <a:pt x="913654" y="4804434"/>
                  <a:pt x="903323" y="4802455"/>
                  <a:pt x="891920" y="4802455"/>
                </a:cubicBezTo>
                <a:close/>
                <a:moveTo>
                  <a:pt x="725443" y="4802455"/>
                </a:moveTo>
                <a:cubicBezTo>
                  <a:pt x="708301" y="4802455"/>
                  <a:pt x="688255" y="4805359"/>
                  <a:pt x="667045" y="4812907"/>
                </a:cubicBezTo>
                <a:lnTo>
                  <a:pt x="666933" y="4813086"/>
                </a:lnTo>
                <a:lnTo>
                  <a:pt x="666650" y="4813136"/>
                </a:lnTo>
                <a:cubicBezTo>
                  <a:pt x="662556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7" y="4944785"/>
                </a:lnTo>
                <a:lnTo>
                  <a:pt x="659777" y="4944812"/>
                </a:lnTo>
                <a:cubicBezTo>
                  <a:pt x="659777" y="4948301"/>
                  <a:pt x="662103" y="4950628"/>
                  <a:pt x="665593" y="4950628"/>
                </a:cubicBezTo>
                <a:lnTo>
                  <a:pt x="691736" y="4950628"/>
                </a:lnTo>
                <a:cubicBezTo>
                  <a:pt x="695225" y="4950628"/>
                  <a:pt x="697552" y="4948301"/>
                  <a:pt x="697552" y="4944812"/>
                </a:cubicBezTo>
                <a:lnTo>
                  <a:pt x="697552" y="4847194"/>
                </a:lnTo>
                <a:lnTo>
                  <a:pt x="704448" y="4839717"/>
                </a:lnTo>
                <a:lnTo>
                  <a:pt x="726010" y="4837419"/>
                </a:lnTo>
                <a:lnTo>
                  <a:pt x="746013" y="4843168"/>
                </a:lnTo>
                <a:lnTo>
                  <a:pt x="754202" y="4862009"/>
                </a:lnTo>
                <a:lnTo>
                  <a:pt x="754202" y="4944812"/>
                </a:lnTo>
                <a:cubicBezTo>
                  <a:pt x="754202" y="4948301"/>
                  <a:pt x="756528" y="4950628"/>
                  <a:pt x="760018" y="4950628"/>
                </a:cubicBezTo>
                <a:lnTo>
                  <a:pt x="786160" y="4950628"/>
                </a:lnTo>
                <a:cubicBezTo>
                  <a:pt x="789650" y="4950628"/>
                  <a:pt x="791976" y="4948301"/>
                  <a:pt x="791976" y="4944812"/>
                </a:cubicBezTo>
                <a:lnTo>
                  <a:pt x="791976" y="4944762"/>
                </a:lnTo>
                <a:lnTo>
                  <a:pt x="792395" y="4944348"/>
                </a:lnTo>
                <a:lnTo>
                  <a:pt x="792395" y="4857065"/>
                </a:lnTo>
                <a:cubicBezTo>
                  <a:pt x="792395" y="4839438"/>
                  <a:pt x="786911" y="4825856"/>
                  <a:pt x="775798" y="4816682"/>
                </a:cubicBezTo>
                <a:lnTo>
                  <a:pt x="775543" y="4816611"/>
                </a:lnTo>
                <a:lnTo>
                  <a:pt x="775486" y="4816471"/>
                </a:lnTo>
                <a:cubicBezTo>
                  <a:pt x="764445" y="4807248"/>
                  <a:pt x="747812" y="4802455"/>
                  <a:pt x="725443" y="4802455"/>
                </a:cubicBezTo>
                <a:close/>
                <a:moveTo>
                  <a:pt x="559834" y="4802455"/>
                </a:moveTo>
                <a:cubicBezTo>
                  <a:pt x="548868" y="4802455"/>
                  <a:pt x="538719" y="4804289"/>
                  <a:pt x="529662" y="4807762"/>
                </a:cubicBezTo>
                <a:lnTo>
                  <a:pt x="529594" y="4807805"/>
                </a:lnTo>
                <a:lnTo>
                  <a:pt x="528372" y="4808018"/>
                </a:lnTo>
                <a:cubicBezTo>
                  <a:pt x="501027" y="4818381"/>
                  <a:pt x="483586" y="4843416"/>
                  <a:pt x="483586" y="4877877"/>
                </a:cubicBezTo>
                <a:cubicBezTo>
                  <a:pt x="483586" y="4912775"/>
                  <a:pt x="498720" y="4937596"/>
                  <a:pt x="526397" y="4947825"/>
                </a:cubicBezTo>
                <a:lnTo>
                  <a:pt x="527142" y="4947947"/>
                </a:lnTo>
                <a:lnTo>
                  <a:pt x="527700" y="4948307"/>
                </a:lnTo>
                <a:cubicBezTo>
                  <a:pt x="536866" y="4951735"/>
                  <a:pt x="547417" y="4953533"/>
                  <a:pt x="559257" y="4953533"/>
                </a:cubicBezTo>
                <a:cubicBezTo>
                  <a:pt x="578428" y="4953533"/>
                  <a:pt x="597022" y="4950331"/>
                  <a:pt x="617069" y="4941908"/>
                </a:cubicBezTo>
                <a:cubicBezTo>
                  <a:pt x="621722" y="4939879"/>
                  <a:pt x="624337" y="4936678"/>
                  <a:pt x="624337" y="4930284"/>
                </a:cubicBezTo>
                <a:lnTo>
                  <a:pt x="624337" y="4824821"/>
                </a:lnTo>
                <a:cubicBezTo>
                  <a:pt x="624337" y="4818138"/>
                  <a:pt x="621722" y="4814946"/>
                  <a:pt x="617069" y="4813204"/>
                </a:cubicBezTo>
                <a:cubicBezTo>
                  <a:pt x="597898" y="4805936"/>
                  <a:pt x="579880" y="4802455"/>
                  <a:pt x="559834" y="4802455"/>
                </a:cubicBezTo>
                <a:close/>
                <a:moveTo>
                  <a:pt x="398011" y="4801292"/>
                </a:moveTo>
                <a:lnTo>
                  <a:pt x="395922" y="4801589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6" y="4940590"/>
                  <a:pt x="423936" y="4944348"/>
                </a:cubicBezTo>
                <a:cubicBezTo>
                  <a:pt x="423645" y="4944931"/>
                  <a:pt x="423645" y="4945505"/>
                  <a:pt x="423645" y="4946089"/>
                </a:cubicBezTo>
                <a:cubicBezTo>
                  <a:pt x="423645" y="4948394"/>
                  <a:pt x="425106" y="4950134"/>
                  <a:pt x="428029" y="4950134"/>
                </a:cubicBezTo>
                <a:lnTo>
                  <a:pt x="429440" y="4950134"/>
                </a:lnTo>
                <a:lnTo>
                  <a:pt x="429969" y="4950628"/>
                </a:lnTo>
                <a:lnTo>
                  <a:pt x="456121" y="4950628"/>
                </a:lnTo>
                <a:cubicBezTo>
                  <a:pt x="460476" y="4950628"/>
                  <a:pt x="462216" y="4949176"/>
                  <a:pt x="463668" y="4944812"/>
                </a:cubicBezTo>
                <a:cubicBezTo>
                  <a:pt x="465418" y="4939879"/>
                  <a:pt x="465995" y="4933196"/>
                  <a:pt x="465995" y="4928255"/>
                </a:cubicBezTo>
                <a:cubicBezTo>
                  <a:pt x="465995" y="4862299"/>
                  <a:pt x="372445" y="4878177"/>
                  <a:pt x="372445" y="4850972"/>
                </a:cubicBezTo>
                <a:cubicBezTo>
                  <a:pt x="372445" y="4846523"/>
                  <a:pt x="374698" y="4842891"/>
                  <a:pt x="378874" y="4840371"/>
                </a:cubicBezTo>
                <a:lnTo>
                  <a:pt x="395404" y="4836760"/>
                </a:lnTo>
                <a:lnTo>
                  <a:pt x="438848" y="4849557"/>
                </a:lnTo>
                <a:cubicBezTo>
                  <a:pt x="440310" y="4850418"/>
                  <a:pt x="441771" y="4850714"/>
                  <a:pt x="443232" y="4850714"/>
                </a:cubicBezTo>
                <a:lnTo>
                  <a:pt x="443815" y="4850347"/>
                </a:lnTo>
                <a:lnTo>
                  <a:pt x="445074" y="4850684"/>
                </a:lnTo>
                <a:cubicBezTo>
                  <a:pt x="447689" y="4850684"/>
                  <a:pt x="450305" y="4849231"/>
                  <a:pt x="451467" y="4846616"/>
                </a:cubicBezTo>
                <a:lnTo>
                  <a:pt x="460476" y="4827435"/>
                </a:lnTo>
                <a:cubicBezTo>
                  <a:pt x="461317" y="4825652"/>
                  <a:pt x="461639" y="4823954"/>
                  <a:pt x="461639" y="4822502"/>
                </a:cubicBezTo>
                <a:cubicBezTo>
                  <a:pt x="461639" y="4820176"/>
                  <a:pt x="460485" y="4817858"/>
                  <a:pt x="458150" y="4816686"/>
                </a:cubicBezTo>
                <a:cubicBezTo>
                  <a:pt x="440141" y="4806226"/>
                  <a:pt x="418635" y="4801292"/>
                  <a:pt x="398011" y="4801292"/>
                </a:cubicBezTo>
                <a:close/>
                <a:moveTo>
                  <a:pt x="1053743" y="4747249"/>
                </a:moveTo>
                <a:cubicBezTo>
                  <a:pt x="1017717" y="4747249"/>
                  <a:pt x="994181" y="4766420"/>
                  <a:pt x="994181" y="4808264"/>
                </a:cubicBezTo>
                <a:lnTo>
                  <a:pt x="994181" y="4944812"/>
                </a:lnTo>
                <a:cubicBezTo>
                  <a:pt x="994181" y="4948301"/>
                  <a:pt x="996508" y="4950628"/>
                  <a:pt x="999997" y="4950628"/>
                </a:cubicBezTo>
                <a:lnTo>
                  <a:pt x="1025851" y="4950628"/>
                </a:lnTo>
                <a:lnTo>
                  <a:pt x="1026345" y="4950134"/>
                </a:lnTo>
                <a:lnTo>
                  <a:pt x="1027794" y="4950134"/>
                </a:lnTo>
                <a:cubicBezTo>
                  <a:pt x="1031306" y="4950134"/>
                  <a:pt x="1033639" y="4947819"/>
                  <a:pt x="1033639" y="4944348"/>
                </a:cubicBezTo>
                <a:lnTo>
                  <a:pt x="1033639" y="4837419"/>
                </a:lnTo>
                <a:lnTo>
                  <a:pt x="1070780" y="4837419"/>
                </a:lnTo>
                <a:cubicBezTo>
                  <a:pt x="1074584" y="4837419"/>
                  <a:pt x="1076625" y="4835105"/>
                  <a:pt x="1076625" y="4831634"/>
                </a:cubicBezTo>
                <a:lnTo>
                  <a:pt x="1076625" y="4811692"/>
                </a:lnTo>
                <a:cubicBezTo>
                  <a:pt x="1076625" y="4807934"/>
                  <a:pt x="1074584" y="4805627"/>
                  <a:pt x="1070780" y="4805627"/>
                </a:cubicBezTo>
                <a:lnTo>
                  <a:pt x="1068815" y="4805627"/>
                </a:lnTo>
                <a:lnTo>
                  <a:pt x="1068559" y="4805359"/>
                </a:lnTo>
                <a:lnTo>
                  <a:pt x="1033639" y="4805359"/>
                </a:lnTo>
                <a:lnTo>
                  <a:pt x="1033639" y="4802443"/>
                </a:lnTo>
                <a:cubicBezTo>
                  <a:pt x="1033639" y="4786548"/>
                  <a:pt x="1040663" y="4778457"/>
                  <a:pt x="1056748" y="4778457"/>
                </a:cubicBezTo>
                <a:cubicBezTo>
                  <a:pt x="1062593" y="4778457"/>
                  <a:pt x="1068892" y="4779901"/>
                  <a:pt x="1071071" y="4779901"/>
                </a:cubicBezTo>
                <a:cubicBezTo>
                  <a:pt x="1074584" y="4779901"/>
                  <a:pt x="1076045" y="4777882"/>
                  <a:pt x="1076625" y="4774411"/>
                </a:cubicBezTo>
                <a:lnTo>
                  <a:pt x="1079556" y="4759385"/>
                </a:lnTo>
                <a:cubicBezTo>
                  <a:pt x="1079813" y="4758050"/>
                  <a:pt x="1080138" y="4756876"/>
                  <a:pt x="1080138" y="4755627"/>
                </a:cubicBezTo>
                <a:cubicBezTo>
                  <a:pt x="1080138" y="4752417"/>
                  <a:pt x="1078386" y="4750711"/>
                  <a:pt x="1074293" y="4749848"/>
                </a:cubicBezTo>
                <a:lnTo>
                  <a:pt x="1072404" y="4749641"/>
                </a:lnTo>
                <a:lnTo>
                  <a:pt x="1072049" y="4749285"/>
                </a:lnTo>
                <a:cubicBezTo>
                  <a:pt x="1066232" y="4747834"/>
                  <a:pt x="1059941" y="4747249"/>
                  <a:pt x="1053743" y="4747249"/>
                </a:cubicBezTo>
                <a:close/>
                <a:moveTo>
                  <a:pt x="1115151" y="4747131"/>
                </a:moveTo>
                <a:cubicBezTo>
                  <a:pt x="1102947" y="4747139"/>
                  <a:pt x="1095102" y="4754688"/>
                  <a:pt x="1095104" y="4767478"/>
                </a:cubicBezTo>
                <a:cubicBezTo>
                  <a:pt x="1095101" y="4779971"/>
                  <a:pt x="1102947" y="4787811"/>
                  <a:pt x="1116017" y="4787818"/>
                </a:cubicBezTo>
                <a:cubicBezTo>
                  <a:pt x="1127933" y="4787817"/>
                  <a:pt x="1136070" y="4779974"/>
                  <a:pt x="1136065" y="4767481"/>
                </a:cubicBezTo>
                <a:cubicBezTo>
                  <a:pt x="1136070" y="4754690"/>
                  <a:pt x="1127933" y="4747137"/>
                  <a:pt x="1115151" y="4747131"/>
                </a:cubicBezTo>
                <a:close/>
                <a:moveTo>
                  <a:pt x="0" y="0"/>
                </a:moveTo>
                <a:lnTo>
                  <a:pt x="9143999" y="0"/>
                </a:lnTo>
                <a:lnTo>
                  <a:pt x="9143999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0B90B88F-38E1-44C8-9D6F-1A9BFFE001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78558" y="2915364"/>
            <a:ext cx="4949741" cy="1399251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333"/>
              </a:spcAft>
              <a:defRPr lang="fr-FR" sz="4800" b="0" i="1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marL="0" indent="0" algn="l">
              <a:lnSpc>
                <a:spcPct val="90000"/>
              </a:lnSpc>
              <a:buFont typeface="Arial" panose="020B0604020202020204" pitchFamily="34" charset="0"/>
              <a:buNone/>
              <a:defRPr lang="en-US" sz="4800" b="0" i="1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333"/>
              </a:spcBef>
              <a:defRPr sz="1867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marL="761981" lvl="0" indent="-761981" algn="l" defTabSz="914377" rtl="0" eaLnBrk="1" latinLnBrk="0" hangingPunct="1">
              <a:lnSpc>
                <a:spcPct val="90000"/>
              </a:lnSpc>
              <a:spcBef>
                <a:spcPts val="0"/>
              </a:spcBef>
            </a:pPr>
            <a:r>
              <a:rPr lang="en-US" noProof="0"/>
              <a:t>Click to edit Master text styles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9F6585BF-F3F3-4500-9CFA-EF0D9041ED5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778558" y="4395893"/>
            <a:ext cx="4949741" cy="710532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333"/>
              </a:spcAft>
              <a:defRPr lang="fr-FR" sz="1867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algn="l">
              <a:lnSpc>
                <a:spcPct val="90000"/>
              </a:lnSpc>
              <a:defRPr lang="en-US" sz="1867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333"/>
              </a:spcBef>
              <a:defRPr lang="en-US" sz="1867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1333"/>
              </a:spcBef>
              <a:buFont typeface="Arial" panose="020B0604020202020204" pitchFamily="34" charset="0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FB220A98-FE22-4FE9-AB26-E269403DC28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778558" y="1792928"/>
            <a:ext cx="4949741" cy="939945"/>
          </a:xfrm>
        </p:spPr>
        <p:txBody>
          <a:bodyPr anchor="b">
            <a:noAutofit/>
          </a:bodyPr>
          <a:lstStyle>
            <a:lvl1pPr algn="l">
              <a:lnSpc>
                <a:spcPct val="96000"/>
              </a:lnSpc>
              <a:spcAft>
                <a:spcPts val="1333"/>
              </a:spcAft>
              <a:defRPr lang="fr-FR" sz="2933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90000"/>
              </a:lnSpc>
              <a:defRPr sz="4800" b="0" i="1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333"/>
              </a:spcBef>
              <a:defRPr sz="1867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Forme libre : forme 9">
            <a:extLst>
              <a:ext uri="{FF2B5EF4-FFF2-40B4-BE49-F238E27FC236}">
                <a16:creationId xmlns:a16="http://schemas.microsoft.com/office/drawing/2014/main" id="{F4B8DA8B-2C07-4FC6-911D-D340BE461554}"/>
              </a:ext>
            </a:extLst>
          </p:cNvPr>
          <p:cNvSpPr>
            <a:spLocks noChangeAspect="1"/>
          </p:cNvSpPr>
          <p:nvPr userDrawn="1"/>
        </p:nvSpPr>
        <p:spPr>
          <a:xfrm>
            <a:off x="441599" y="6330316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26" name="Graphique 7">
            <a:extLst>
              <a:ext uri="{FF2B5EF4-FFF2-40B4-BE49-F238E27FC236}">
                <a16:creationId xmlns:a16="http://schemas.microsoft.com/office/drawing/2014/main" id="{2473C403-3091-45DA-8311-8B80BACBDD7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27" name="Forme libre : forme 9">
              <a:extLst>
                <a:ext uri="{FF2B5EF4-FFF2-40B4-BE49-F238E27FC236}">
                  <a16:creationId xmlns:a16="http://schemas.microsoft.com/office/drawing/2014/main" id="{9A66E28E-1ED8-413A-86AB-392723C99535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" name="Forme libre : forme 10">
              <a:extLst>
                <a:ext uri="{FF2B5EF4-FFF2-40B4-BE49-F238E27FC236}">
                  <a16:creationId xmlns:a16="http://schemas.microsoft.com/office/drawing/2014/main" id="{332EEDE0-E68F-49D3-A74F-33347ECF61BC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29" name="Forme libre : forme 11">
              <a:extLst>
                <a:ext uri="{FF2B5EF4-FFF2-40B4-BE49-F238E27FC236}">
                  <a16:creationId xmlns:a16="http://schemas.microsoft.com/office/drawing/2014/main" id="{3EA6B076-5413-42E1-95D1-72C23C1D4D5B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181844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next t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5C5F3432-6FAD-4E94-8F10-E3A9F6458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351364 w 4572000"/>
              <a:gd name="connsiteY0" fmla="*/ 4913481 h 5143500"/>
              <a:gd name="connsiteX1" fmla="*/ 331614 w 4572000"/>
              <a:gd name="connsiteY1" fmla="*/ 4933530 h 5143500"/>
              <a:gd name="connsiteX2" fmla="*/ 352238 w 4572000"/>
              <a:gd name="connsiteY2" fmla="*/ 4953582 h 5143500"/>
              <a:gd name="connsiteX3" fmla="*/ 371988 w 4572000"/>
              <a:gd name="connsiteY3" fmla="*/ 4933533 h 5143500"/>
              <a:gd name="connsiteX4" fmla="*/ 351364 w 4572000"/>
              <a:gd name="connsiteY4" fmla="*/ 4913481 h 5143500"/>
              <a:gd name="connsiteX5" fmla="*/ 892594 w 4572000"/>
              <a:gd name="connsiteY5" fmla="*/ 4837587 h 5143500"/>
              <a:gd name="connsiteX6" fmla="*/ 917847 w 4572000"/>
              <a:gd name="connsiteY6" fmla="*/ 4847631 h 5143500"/>
              <a:gd name="connsiteX7" fmla="*/ 927649 w 4572000"/>
              <a:gd name="connsiteY7" fmla="*/ 4877990 h 5143500"/>
              <a:gd name="connsiteX8" fmla="*/ 918101 w 4572000"/>
              <a:gd name="connsiteY8" fmla="*/ 4908353 h 5143500"/>
              <a:gd name="connsiteX9" fmla="*/ 894867 w 4572000"/>
              <a:gd name="connsiteY9" fmla="*/ 4918277 h 5143500"/>
              <a:gd name="connsiteX10" fmla="*/ 868934 w 4572000"/>
              <a:gd name="connsiteY10" fmla="*/ 4908080 h 5143500"/>
              <a:gd name="connsiteX11" fmla="*/ 859063 w 4572000"/>
              <a:gd name="connsiteY11" fmla="*/ 4877877 h 5143500"/>
              <a:gd name="connsiteX12" fmla="*/ 868679 w 4572000"/>
              <a:gd name="connsiteY12" fmla="*/ 4847677 h 5143500"/>
              <a:gd name="connsiteX13" fmla="*/ 559058 w 4572000"/>
              <a:gd name="connsiteY13" fmla="*/ 4837499 h 5143500"/>
              <a:gd name="connsiteX14" fmla="*/ 578337 w 4572000"/>
              <a:gd name="connsiteY14" fmla="*/ 4840021 h 5143500"/>
              <a:gd name="connsiteX15" fmla="*/ 585644 w 4572000"/>
              <a:gd name="connsiteY15" fmla="*/ 4847817 h 5143500"/>
              <a:gd name="connsiteX16" fmla="*/ 585644 w 4572000"/>
              <a:gd name="connsiteY16" fmla="*/ 4907937 h 5143500"/>
              <a:gd name="connsiteX17" fmla="*/ 578337 w 4572000"/>
              <a:gd name="connsiteY17" fmla="*/ 4915741 h 5143500"/>
              <a:gd name="connsiteX18" fmla="*/ 558606 w 4572000"/>
              <a:gd name="connsiteY18" fmla="*/ 4918322 h 5143500"/>
              <a:gd name="connsiteX19" fmla="*/ 534560 w 4572000"/>
              <a:gd name="connsiteY19" fmla="*/ 4909442 h 5143500"/>
              <a:gd name="connsiteX20" fmla="*/ 523520 w 4572000"/>
              <a:gd name="connsiteY20" fmla="*/ 4877990 h 5143500"/>
              <a:gd name="connsiteX21" fmla="*/ 534560 w 4572000"/>
              <a:gd name="connsiteY21" fmla="*/ 4846542 h 5143500"/>
              <a:gd name="connsiteX22" fmla="*/ 1101681 w 4572000"/>
              <a:gd name="connsiteY22" fmla="*/ 4805359 h 5143500"/>
              <a:gd name="connsiteX23" fmla="*/ 1095865 w 4572000"/>
              <a:gd name="connsiteY23" fmla="*/ 4811167 h 5143500"/>
              <a:gd name="connsiteX24" fmla="*/ 1095865 w 4572000"/>
              <a:gd name="connsiteY24" fmla="*/ 4944812 h 5143500"/>
              <a:gd name="connsiteX25" fmla="*/ 1101681 w 4572000"/>
              <a:gd name="connsiteY25" fmla="*/ 4950628 h 5143500"/>
              <a:gd name="connsiteX26" fmla="*/ 1127824 w 4572000"/>
              <a:gd name="connsiteY26" fmla="*/ 4950628 h 5143500"/>
              <a:gd name="connsiteX27" fmla="*/ 1128318 w 4572000"/>
              <a:gd name="connsiteY27" fmla="*/ 4950134 h 5143500"/>
              <a:gd name="connsiteX28" fmla="*/ 1130432 w 4572000"/>
              <a:gd name="connsiteY28" fmla="*/ 4950134 h 5143500"/>
              <a:gd name="connsiteX29" fmla="*/ 1136286 w 4572000"/>
              <a:gd name="connsiteY29" fmla="*/ 4944348 h 5143500"/>
              <a:gd name="connsiteX30" fmla="*/ 1136286 w 4572000"/>
              <a:gd name="connsiteY30" fmla="*/ 4811405 h 5143500"/>
              <a:gd name="connsiteX31" fmla="*/ 1130432 w 4572000"/>
              <a:gd name="connsiteY31" fmla="*/ 4805627 h 5143500"/>
              <a:gd name="connsiteX32" fmla="*/ 1128093 w 4572000"/>
              <a:gd name="connsiteY32" fmla="*/ 4805627 h 5143500"/>
              <a:gd name="connsiteX33" fmla="*/ 1127824 w 4572000"/>
              <a:gd name="connsiteY33" fmla="*/ 4805359 h 5143500"/>
              <a:gd name="connsiteX34" fmla="*/ 891921 w 4572000"/>
              <a:gd name="connsiteY34" fmla="*/ 4802455 h 5143500"/>
              <a:gd name="connsiteX35" fmla="*/ 819860 w 4572000"/>
              <a:gd name="connsiteY35" fmla="*/ 4877990 h 5143500"/>
              <a:gd name="connsiteX36" fmla="*/ 893950 w 4572000"/>
              <a:gd name="connsiteY36" fmla="*/ 4953533 h 5143500"/>
              <a:gd name="connsiteX37" fmla="*/ 923594 w 4572000"/>
              <a:gd name="connsiteY37" fmla="*/ 4947899 h 5143500"/>
              <a:gd name="connsiteX38" fmla="*/ 924072 w 4572000"/>
              <a:gd name="connsiteY38" fmla="*/ 4947569 h 5143500"/>
              <a:gd name="connsiteX39" fmla="*/ 924870 w 4572000"/>
              <a:gd name="connsiteY39" fmla="*/ 4947419 h 5143500"/>
              <a:gd name="connsiteX40" fmla="*/ 967554 w 4572000"/>
              <a:gd name="connsiteY40" fmla="*/ 4877877 h 5143500"/>
              <a:gd name="connsiteX41" fmla="*/ 924009 w 4572000"/>
              <a:gd name="connsiteY41" fmla="*/ 4808342 h 5143500"/>
              <a:gd name="connsiteX42" fmla="*/ 922788 w 4572000"/>
              <a:gd name="connsiteY42" fmla="*/ 4808122 h 5143500"/>
              <a:gd name="connsiteX43" fmla="*/ 922738 w 4572000"/>
              <a:gd name="connsiteY43" fmla="*/ 4808088 h 5143500"/>
              <a:gd name="connsiteX44" fmla="*/ 891921 w 4572000"/>
              <a:gd name="connsiteY44" fmla="*/ 4802455 h 5143500"/>
              <a:gd name="connsiteX45" fmla="*/ 725444 w 4572000"/>
              <a:gd name="connsiteY45" fmla="*/ 4802455 h 5143500"/>
              <a:gd name="connsiteX46" fmla="*/ 667046 w 4572000"/>
              <a:gd name="connsiteY46" fmla="*/ 4812907 h 5143500"/>
              <a:gd name="connsiteX47" fmla="*/ 666934 w 4572000"/>
              <a:gd name="connsiteY47" fmla="*/ 4813086 h 5143500"/>
              <a:gd name="connsiteX48" fmla="*/ 666651 w 4572000"/>
              <a:gd name="connsiteY48" fmla="*/ 4813136 h 5143500"/>
              <a:gd name="connsiteX49" fmla="*/ 659335 w 4572000"/>
              <a:gd name="connsiteY49" fmla="*/ 4824699 h 5143500"/>
              <a:gd name="connsiteX50" fmla="*/ 659335 w 4572000"/>
              <a:gd name="connsiteY50" fmla="*/ 4944348 h 5143500"/>
              <a:gd name="connsiteX51" fmla="*/ 659778 w 4572000"/>
              <a:gd name="connsiteY51" fmla="*/ 4944785 h 5143500"/>
              <a:gd name="connsiteX52" fmla="*/ 659778 w 4572000"/>
              <a:gd name="connsiteY52" fmla="*/ 4944812 h 5143500"/>
              <a:gd name="connsiteX53" fmla="*/ 665594 w 4572000"/>
              <a:gd name="connsiteY53" fmla="*/ 4950628 h 5143500"/>
              <a:gd name="connsiteX54" fmla="*/ 691737 w 4572000"/>
              <a:gd name="connsiteY54" fmla="*/ 4950628 h 5143500"/>
              <a:gd name="connsiteX55" fmla="*/ 697553 w 4572000"/>
              <a:gd name="connsiteY55" fmla="*/ 4944812 h 5143500"/>
              <a:gd name="connsiteX56" fmla="*/ 697553 w 4572000"/>
              <a:gd name="connsiteY56" fmla="*/ 4847194 h 5143500"/>
              <a:gd name="connsiteX57" fmla="*/ 704449 w 4572000"/>
              <a:gd name="connsiteY57" fmla="*/ 4839717 h 5143500"/>
              <a:gd name="connsiteX58" fmla="*/ 726010 w 4572000"/>
              <a:gd name="connsiteY58" fmla="*/ 4837419 h 5143500"/>
              <a:gd name="connsiteX59" fmla="*/ 746014 w 4572000"/>
              <a:gd name="connsiteY59" fmla="*/ 4843168 h 5143500"/>
              <a:gd name="connsiteX60" fmla="*/ 754203 w 4572000"/>
              <a:gd name="connsiteY60" fmla="*/ 4862009 h 5143500"/>
              <a:gd name="connsiteX61" fmla="*/ 754203 w 4572000"/>
              <a:gd name="connsiteY61" fmla="*/ 4944812 h 5143500"/>
              <a:gd name="connsiteX62" fmla="*/ 760019 w 4572000"/>
              <a:gd name="connsiteY62" fmla="*/ 4950628 h 5143500"/>
              <a:gd name="connsiteX63" fmla="*/ 786161 w 4572000"/>
              <a:gd name="connsiteY63" fmla="*/ 4950628 h 5143500"/>
              <a:gd name="connsiteX64" fmla="*/ 791977 w 4572000"/>
              <a:gd name="connsiteY64" fmla="*/ 4944812 h 5143500"/>
              <a:gd name="connsiteX65" fmla="*/ 791977 w 4572000"/>
              <a:gd name="connsiteY65" fmla="*/ 4944762 h 5143500"/>
              <a:gd name="connsiteX66" fmla="*/ 792396 w 4572000"/>
              <a:gd name="connsiteY66" fmla="*/ 4944348 h 5143500"/>
              <a:gd name="connsiteX67" fmla="*/ 792396 w 4572000"/>
              <a:gd name="connsiteY67" fmla="*/ 4857065 h 5143500"/>
              <a:gd name="connsiteX68" fmla="*/ 775798 w 4572000"/>
              <a:gd name="connsiteY68" fmla="*/ 4816682 h 5143500"/>
              <a:gd name="connsiteX69" fmla="*/ 775550 w 4572000"/>
              <a:gd name="connsiteY69" fmla="*/ 4816558 h 5143500"/>
              <a:gd name="connsiteX70" fmla="*/ 775487 w 4572000"/>
              <a:gd name="connsiteY70" fmla="*/ 4816471 h 5143500"/>
              <a:gd name="connsiteX71" fmla="*/ 725444 w 4572000"/>
              <a:gd name="connsiteY71" fmla="*/ 4802455 h 5143500"/>
              <a:gd name="connsiteX72" fmla="*/ 559835 w 4572000"/>
              <a:gd name="connsiteY72" fmla="*/ 4802455 h 5143500"/>
              <a:gd name="connsiteX73" fmla="*/ 529663 w 4572000"/>
              <a:gd name="connsiteY73" fmla="*/ 4807762 h 5143500"/>
              <a:gd name="connsiteX74" fmla="*/ 529596 w 4572000"/>
              <a:gd name="connsiteY74" fmla="*/ 4807805 h 5143500"/>
              <a:gd name="connsiteX75" fmla="*/ 528373 w 4572000"/>
              <a:gd name="connsiteY75" fmla="*/ 4808018 h 5143500"/>
              <a:gd name="connsiteX76" fmla="*/ 483587 w 4572000"/>
              <a:gd name="connsiteY76" fmla="*/ 4877877 h 5143500"/>
              <a:gd name="connsiteX77" fmla="*/ 526397 w 4572000"/>
              <a:gd name="connsiteY77" fmla="*/ 4947825 h 5143500"/>
              <a:gd name="connsiteX78" fmla="*/ 527143 w 4572000"/>
              <a:gd name="connsiteY78" fmla="*/ 4947947 h 5143500"/>
              <a:gd name="connsiteX79" fmla="*/ 527701 w 4572000"/>
              <a:gd name="connsiteY79" fmla="*/ 4948307 h 5143500"/>
              <a:gd name="connsiteX80" fmla="*/ 559257 w 4572000"/>
              <a:gd name="connsiteY80" fmla="*/ 4953533 h 5143500"/>
              <a:gd name="connsiteX81" fmla="*/ 617069 w 4572000"/>
              <a:gd name="connsiteY81" fmla="*/ 4941908 h 5143500"/>
              <a:gd name="connsiteX82" fmla="*/ 624338 w 4572000"/>
              <a:gd name="connsiteY82" fmla="*/ 4930284 h 5143500"/>
              <a:gd name="connsiteX83" fmla="*/ 624338 w 4572000"/>
              <a:gd name="connsiteY83" fmla="*/ 4824821 h 5143500"/>
              <a:gd name="connsiteX84" fmla="*/ 617069 w 4572000"/>
              <a:gd name="connsiteY84" fmla="*/ 4813204 h 5143500"/>
              <a:gd name="connsiteX85" fmla="*/ 559835 w 4572000"/>
              <a:gd name="connsiteY85" fmla="*/ 4802455 h 5143500"/>
              <a:gd name="connsiteX86" fmla="*/ 398012 w 4572000"/>
              <a:gd name="connsiteY86" fmla="*/ 4801292 h 5143500"/>
              <a:gd name="connsiteX87" fmla="*/ 396528 w 4572000"/>
              <a:gd name="connsiteY87" fmla="*/ 4801750 h 5143500"/>
              <a:gd name="connsiteX88" fmla="*/ 395863 w 4572000"/>
              <a:gd name="connsiteY88" fmla="*/ 4801582 h 5143500"/>
              <a:gd name="connsiteX89" fmla="*/ 331528 w 4572000"/>
              <a:gd name="connsiteY89" fmla="*/ 4853603 h 5143500"/>
              <a:gd name="connsiteX90" fmla="*/ 425688 w 4572000"/>
              <a:gd name="connsiteY90" fmla="*/ 4933656 h 5143500"/>
              <a:gd name="connsiteX91" fmla="*/ 423937 w 4572000"/>
              <a:gd name="connsiteY91" fmla="*/ 4944348 h 5143500"/>
              <a:gd name="connsiteX92" fmla="*/ 423646 w 4572000"/>
              <a:gd name="connsiteY92" fmla="*/ 4946089 h 5143500"/>
              <a:gd name="connsiteX93" fmla="*/ 428030 w 4572000"/>
              <a:gd name="connsiteY93" fmla="*/ 4950134 h 5143500"/>
              <a:gd name="connsiteX94" fmla="*/ 429441 w 4572000"/>
              <a:gd name="connsiteY94" fmla="*/ 4950134 h 5143500"/>
              <a:gd name="connsiteX95" fmla="*/ 429970 w 4572000"/>
              <a:gd name="connsiteY95" fmla="*/ 4950628 h 5143500"/>
              <a:gd name="connsiteX96" fmla="*/ 456122 w 4572000"/>
              <a:gd name="connsiteY96" fmla="*/ 4950628 h 5143500"/>
              <a:gd name="connsiteX97" fmla="*/ 463669 w 4572000"/>
              <a:gd name="connsiteY97" fmla="*/ 4944812 h 5143500"/>
              <a:gd name="connsiteX98" fmla="*/ 465995 w 4572000"/>
              <a:gd name="connsiteY98" fmla="*/ 4928255 h 5143500"/>
              <a:gd name="connsiteX99" fmla="*/ 372446 w 4572000"/>
              <a:gd name="connsiteY99" fmla="*/ 4850972 h 5143500"/>
              <a:gd name="connsiteX100" fmla="*/ 378875 w 4572000"/>
              <a:gd name="connsiteY100" fmla="*/ 4840371 h 5143500"/>
              <a:gd name="connsiteX101" fmla="*/ 395405 w 4572000"/>
              <a:gd name="connsiteY101" fmla="*/ 4836760 h 5143500"/>
              <a:gd name="connsiteX102" fmla="*/ 438849 w 4572000"/>
              <a:gd name="connsiteY102" fmla="*/ 4849557 h 5143500"/>
              <a:gd name="connsiteX103" fmla="*/ 443233 w 4572000"/>
              <a:gd name="connsiteY103" fmla="*/ 4850714 h 5143500"/>
              <a:gd name="connsiteX104" fmla="*/ 443816 w 4572000"/>
              <a:gd name="connsiteY104" fmla="*/ 4850348 h 5143500"/>
              <a:gd name="connsiteX105" fmla="*/ 445075 w 4572000"/>
              <a:gd name="connsiteY105" fmla="*/ 4850684 h 5143500"/>
              <a:gd name="connsiteX106" fmla="*/ 451468 w 4572000"/>
              <a:gd name="connsiteY106" fmla="*/ 4846616 h 5143500"/>
              <a:gd name="connsiteX107" fmla="*/ 460477 w 4572000"/>
              <a:gd name="connsiteY107" fmla="*/ 4827435 h 5143500"/>
              <a:gd name="connsiteX108" fmla="*/ 461640 w 4572000"/>
              <a:gd name="connsiteY108" fmla="*/ 4822502 h 5143500"/>
              <a:gd name="connsiteX109" fmla="*/ 458151 w 4572000"/>
              <a:gd name="connsiteY109" fmla="*/ 4816686 h 5143500"/>
              <a:gd name="connsiteX110" fmla="*/ 398012 w 4572000"/>
              <a:gd name="connsiteY110" fmla="*/ 4801292 h 5143500"/>
              <a:gd name="connsiteX111" fmla="*/ 1053744 w 4572000"/>
              <a:gd name="connsiteY111" fmla="*/ 4747249 h 5143500"/>
              <a:gd name="connsiteX112" fmla="*/ 994182 w 4572000"/>
              <a:gd name="connsiteY112" fmla="*/ 4808264 h 5143500"/>
              <a:gd name="connsiteX113" fmla="*/ 994182 w 4572000"/>
              <a:gd name="connsiteY113" fmla="*/ 4944812 h 5143500"/>
              <a:gd name="connsiteX114" fmla="*/ 999998 w 4572000"/>
              <a:gd name="connsiteY114" fmla="*/ 4950628 h 5143500"/>
              <a:gd name="connsiteX115" fmla="*/ 1025852 w 4572000"/>
              <a:gd name="connsiteY115" fmla="*/ 4950628 h 5143500"/>
              <a:gd name="connsiteX116" fmla="*/ 1026345 w 4572000"/>
              <a:gd name="connsiteY116" fmla="*/ 4950134 h 5143500"/>
              <a:gd name="connsiteX117" fmla="*/ 1027795 w 4572000"/>
              <a:gd name="connsiteY117" fmla="*/ 4950134 h 5143500"/>
              <a:gd name="connsiteX118" fmla="*/ 1033640 w 4572000"/>
              <a:gd name="connsiteY118" fmla="*/ 4944348 h 5143500"/>
              <a:gd name="connsiteX119" fmla="*/ 1033640 w 4572000"/>
              <a:gd name="connsiteY119" fmla="*/ 4837419 h 5143500"/>
              <a:gd name="connsiteX120" fmla="*/ 1070781 w 4572000"/>
              <a:gd name="connsiteY120" fmla="*/ 4837419 h 5143500"/>
              <a:gd name="connsiteX121" fmla="*/ 1076626 w 4572000"/>
              <a:gd name="connsiteY121" fmla="*/ 4831634 h 5143500"/>
              <a:gd name="connsiteX122" fmla="*/ 1076626 w 4572000"/>
              <a:gd name="connsiteY122" fmla="*/ 4811692 h 5143500"/>
              <a:gd name="connsiteX123" fmla="*/ 1070781 w 4572000"/>
              <a:gd name="connsiteY123" fmla="*/ 4805627 h 5143500"/>
              <a:gd name="connsiteX124" fmla="*/ 1068815 w 4572000"/>
              <a:gd name="connsiteY124" fmla="*/ 4805627 h 5143500"/>
              <a:gd name="connsiteX125" fmla="*/ 1068560 w 4572000"/>
              <a:gd name="connsiteY125" fmla="*/ 4805359 h 5143500"/>
              <a:gd name="connsiteX126" fmla="*/ 1033640 w 4572000"/>
              <a:gd name="connsiteY126" fmla="*/ 4805359 h 5143500"/>
              <a:gd name="connsiteX127" fmla="*/ 1033640 w 4572000"/>
              <a:gd name="connsiteY127" fmla="*/ 4802443 h 5143500"/>
              <a:gd name="connsiteX128" fmla="*/ 1056749 w 4572000"/>
              <a:gd name="connsiteY128" fmla="*/ 4778457 h 5143500"/>
              <a:gd name="connsiteX129" fmla="*/ 1071072 w 4572000"/>
              <a:gd name="connsiteY129" fmla="*/ 4779901 h 5143500"/>
              <a:gd name="connsiteX130" fmla="*/ 1076626 w 4572000"/>
              <a:gd name="connsiteY130" fmla="*/ 4774411 h 5143500"/>
              <a:gd name="connsiteX131" fmla="*/ 1079557 w 4572000"/>
              <a:gd name="connsiteY131" fmla="*/ 4759385 h 5143500"/>
              <a:gd name="connsiteX132" fmla="*/ 1080138 w 4572000"/>
              <a:gd name="connsiteY132" fmla="*/ 4755627 h 5143500"/>
              <a:gd name="connsiteX133" fmla="*/ 1074293 w 4572000"/>
              <a:gd name="connsiteY133" fmla="*/ 4749848 h 5143500"/>
              <a:gd name="connsiteX134" fmla="*/ 1072405 w 4572000"/>
              <a:gd name="connsiteY134" fmla="*/ 4749641 h 5143500"/>
              <a:gd name="connsiteX135" fmla="*/ 1072049 w 4572000"/>
              <a:gd name="connsiteY135" fmla="*/ 4749285 h 5143500"/>
              <a:gd name="connsiteX136" fmla="*/ 1053744 w 4572000"/>
              <a:gd name="connsiteY136" fmla="*/ 4747249 h 5143500"/>
              <a:gd name="connsiteX137" fmla="*/ 1115152 w 4572000"/>
              <a:gd name="connsiteY137" fmla="*/ 4747131 h 5143500"/>
              <a:gd name="connsiteX138" fmla="*/ 1095105 w 4572000"/>
              <a:gd name="connsiteY138" fmla="*/ 4767478 h 5143500"/>
              <a:gd name="connsiteX139" fmla="*/ 1116018 w 4572000"/>
              <a:gd name="connsiteY139" fmla="*/ 4787818 h 5143500"/>
              <a:gd name="connsiteX140" fmla="*/ 1136066 w 4572000"/>
              <a:gd name="connsiteY140" fmla="*/ 4767481 h 5143500"/>
              <a:gd name="connsiteX141" fmla="*/ 1115152 w 4572000"/>
              <a:gd name="connsiteY141" fmla="*/ 4747131 h 5143500"/>
              <a:gd name="connsiteX142" fmla="*/ 0 w 4572000"/>
              <a:gd name="connsiteY142" fmla="*/ 0 h 5143500"/>
              <a:gd name="connsiteX143" fmla="*/ 4572000 w 4572000"/>
              <a:gd name="connsiteY143" fmla="*/ 0 h 5143500"/>
              <a:gd name="connsiteX144" fmla="*/ 4572000 w 4572000"/>
              <a:gd name="connsiteY144" fmla="*/ 5143500 h 5143500"/>
              <a:gd name="connsiteX145" fmla="*/ 0 w 4572000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4572000" h="5143500">
                <a:moveTo>
                  <a:pt x="351364" y="4913481"/>
                </a:moveTo>
                <a:cubicBezTo>
                  <a:pt x="339457" y="4913486"/>
                  <a:pt x="331613" y="4921037"/>
                  <a:pt x="331614" y="4933530"/>
                </a:cubicBezTo>
                <a:cubicBezTo>
                  <a:pt x="331609" y="4945734"/>
                  <a:pt x="339457" y="4953580"/>
                  <a:pt x="352238" y="4953582"/>
                </a:cubicBezTo>
                <a:cubicBezTo>
                  <a:pt x="364154" y="4953577"/>
                  <a:pt x="371991" y="4945737"/>
                  <a:pt x="371988" y="4933533"/>
                </a:cubicBezTo>
                <a:cubicBezTo>
                  <a:pt x="371996" y="4921039"/>
                  <a:pt x="364154" y="4913482"/>
                  <a:pt x="351364" y="4913481"/>
                </a:cubicBezTo>
                <a:close/>
                <a:moveTo>
                  <a:pt x="892594" y="4837587"/>
                </a:moveTo>
                <a:lnTo>
                  <a:pt x="917847" y="4847631"/>
                </a:lnTo>
                <a:cubicBezTo>
                  <a:pt x="924092" y="4854457"/>
                  <a:pt x="927649" y="4864625"/>
                  <a:pt x="927649" y="4877990"/>
                </a:cubicBezTo>
                <a:cubicBezTo>
                  <a:pt x="927649" y="4891355"/>
                  <a:pt x="924092" y="4901524"/>
                  <a:pt x="918101" y="4908353"/>
                </a:cubicBezTo>
                <a:lnTo>
                  <a:pt x="894867" y="4918277"/>
                </a:lnTo>
                <a:lnTo>
                  <a:pt x="868934" y="4908080"/>
                </a:lnTo>
                <a:cubicBezTo>
                  <a:pt x="862646" y="4901288"/>
                  <a:pt x="859063" y="4891172"/>
                  <a:pt x="859063" y="4877877"/>
                </a:cubicBezTo>
                <a:cubicBezTo>
                  <a:pt x="859063" y="4864582"/>
                  <a:pt x="862646" y="4854468"/>
                  <a:pt x="868679" y="4847677"/>
                </a:cubicBezTo>
                <a:close/>
                <a:moveTo>
                  <a:pt x="559058" y="4837499"/>
                </a:moveTo>
                <a:lnTo>
                  <a:pt x="578337" y="4840021"/>
                </a:lnTo>
                <a:cubicBezTo>
                  <a:pt x="583310" y="4841465"/>
                  <a:pt x="585644" y="4843483"/>
                  <a:pt x="585644" y="4847817"/>
                </a:cubicBezTo>
                <a:lnTo>
                  <a:pt x="585644" y="4907937"/>
                </a:lnTo>
                <a:cubicBezTo>
                  <a:pt x="585644" y="4912270"/>
                  <a:pt x="583310" y="4914296"/>
                  <a:pt x="578337" y="4915741"/>
                </a:cubicBezTo>
                <a:lnTo>
                  <a:pt x="558606" y="4918322"/>
                </a:lnTo>
                <a:lnTo>
                  <a:pt x="534560" y="4909442"/>
                </a:lnTo>
                <a:cubicBezTo>
                  <a:pt x="527878" y="4902976"/>
                  <a:pt x="523520" y="4892806"/>
                  <a:pt x="523520" y="4877990"/>
                </a:cubicBezTo>
                <a:cubicBezTo>
                  <a:pt x="523520" y="4863173"/>
                  <a:pt x="527878" y="4853005"/>
                  <a:pt x="534560" y="4846542"/>
                </a:cubicBezTo>
                <a:close/>
                <a:moveTo>
                  <a:pt x="1101681" y="4805359"/>
                </a:moveTo>
                <a:cubicBezTo>
                  <a:pt x="1098193" y="4805359"/>
                  <a:pt x="1095865" y="4807677"/>
                  <a:pt x="1095865" y="4811167"/>
                </a:cubicBezTo>
                <a:lnTo>
                  <a:pt x="1095865" y="4944812"/>
                </a:lnTo>
                <a:cubicBezTo>
                  <a:pt x="1095865" y="4948301"/>
                  <a:pt x="1098193" y="4950628"/>
                  <a:pt x="1101681" y="4950628"/>
                </a:cubicBezTo>
                <a:lnTo>
                  <a:pt x="1127824" y="4950628"/>
                </a:lnTo>
                <a:lnTo>
                  <a:pt x="1128318" y="4950134"/>
                </a:lnTo>
                <a:lnTo>
                  <a:pt x="1130432" y="4950134"/>
                </a:lnTo>
                <a:cubicBezTo>
                  <a:pt x="1133944" y="4950134"/>
                  <a:pt x="1136286" y="4947819"/>
                  <a:pt x="1136286" y="4944348"/>
                </a:cubicBezTo>
                <a:lnTo>
                  <a:pt x="1136286" y="4811405"/>
                </a:lnTo>
                <a:cubicBezTo>
                  <a:pt x="1136286" y="4807934"/>
                  <a:pt x="1133944" y="4805627"/>
                  <a:pt x="1130432" y="4805627"/>
                </a:cubicBezTo>
                <a:lnTo>
                  <a:pt x="1128093" y="4805627"/>
                </a:lnTo>
                <a:lnTo>
                  <a:pt x="1127824" y="4805359"/>
                </a:lnTo>
                <a:close/>
                <a:moveTo>
                  <a:pt x="891921" y="4802455"/>
                </a:moveTo>
                <a:cubicBezTo>
                  <a:pt x="848338" y="4802455"/>
                  <a:pt x="819860" y="4834118"/>
                  <a:pt x="819860" y="4877990"/>
                </a:cubicBezTo>
                <a:cubicBezTo>
                  <a:pt x="819860" y="4921862"/>
                  <a:pt x="848338" y="4953533"/>
                  <a:pt x="893950" y="4953533"/>
                </a:cubicBezTo>
                <a:cubicBezTo>
                  <a:pt x="904845" y="4953533"/>
                  <a:pt x="914796" y="4951553"/>
                  <a:pt x="923594" y="4947899"/>
                </a:cubicBezTo>
                <a:lnTo>
                  <a:pt x="924072" y="4947569"/>
                </a:lnTo>
                <a:lnTo>
                  <a:pt x="924870" y="4947419"/>
                </a:lnTo>
                <a:cubicBezTo>
                  <a:pt x="951435" y="4936512"/>
                  <a:pt x="967554" y="4910608"/>
                  <a:pt x="967554" y="4877877"/>
                </a:cubicBezTo>
                <a:cubicBezTo>
                  <a:pt x="967554" y="4845146"/>
                  <a:pt x="951435" y="4819246"/>
                  <a:pt x="924009" y="4808342"/>
                </a:cubicBezTo>
                <a:lnTo>
                  <a:pt x="922788" y="4808122"/>
                </a:lnTo>
                <a:lnTo>
                  <a:pt x="922738" y="4808088"/>
                </a:lnTo>
                <a:cubicBezTo>
                  <a:pt x="913655" y="4804434"/>
                  <a:pt x="903323" y="4802455"/>
                  <a:pt x="891921" y="4802455"/>
                </a:cubicBezTo>
                <a:close/>
                <a:moveTo>
                  <a:pt x="725444" y="4802455"/>
                </a:moveTo>
                <a:cubicBezTo>
                  <a:pt x="708302" y="4802455"/>
                  <a:pt x="688256" y="4805359"/>
                  <a:pt x="667046" y="4812907"/>
                </a:cubicBezTo>
                <a:lnTo>
                  <a:pt x="666934" y="4813086"/>
                </a:lnTo>
                <a:lnTo>
                  <a:pt x="666651" y="4813136"/>
                </a:lnTo>
                <a:cubicBezTo>
                  <a:pt x="662557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8" y="4944785"/>
                </a:lnTo>
                <a:lnTo>
                  <a:pt x="659778" y="4944812"/>
                </a:lnTo>
                <a:cubicBezTo>
                  <a:pt x="659778" y="4948301"/>
                  <a:pt x="662104" y="4950628"/>
                  <a:pt x="665594" y="4950628"/>
                </a:cubicBezTo>
                <a:lnTo>
                  <a:pt x="691737" y="4950628"/>
                </a:lnTo>
                <a:cubicBezTo>
                  <a:pt x="695226" y="4950628"/>
                  <a:pt x="697553" y="4948301"/>
                  <a:pt x="697553" y="4944812"/>
                </a:cubicBezTo>
                <a:lnTo>
                  <a:pt x="697553" y="4847194"/>
                </a:lnTo>
                <a:lnTo>
                  <a:pt x="704449" y="4839717"/>
                </a:lnTo>
                <a:lnTo>
                  <a:pt x="726010" y="4837419"/>
                </a:lnTo>
                <a:lnTo>
                  <a:pt x="746014" y="4843168"/>
                </a:lnTo>
                <a:lnTo>
                  <a:pt x="754203" y="4862009"/>
                </a:lnTo>
                <a:lnTo>
                  <a:pt x="754203" y="4944812"/>
                </a:lnTo>
                <a:cubicBezTo>
                  <a:pt x="754203" y="4948301"/>
                  <a:pt x="756529" y="4950628"/>
                  <a:pt x="760019" y="4950628"/>
                </a:cubicBezTo>
                <a:lnTo>
                  <a:pt x="786161" y="4950628"/>
                </a:lnTo>
                <a:cubicBezTo>
                  <a:pt x="789651" y="4950628"/>
                  <a:pt x="791977" y="4948301"/>
                  <a:pt x="791977" y="4944812"/>
                </a:cubicBezTo>
                <a:lnTo>
                  <a:pt x="791977" y="4944762"/>
                </a:lnTo>
                <a:lnTo>
                  <a:pt x="792396" y="4944348"/>
                </a:lnTo>
                <a:lnTo>
                  <a:pt x="792396" y="4857065"/>
                </a:lnTo>
                <a:cubicBezTo>
                  <a:pt x="792396" y="4839438"/>
                  <a:pt x="786911" y="4825856"/>
                  <a:pt x="775798" y="4816682"/>
                </a:cubicBezTo>
                <a:lnTo>
                  <a:pt x="775550" y="4816558"/>
                </a:lnTo>
                <a:lnTo>
                  <a:pt x="775487" y="4816471"/>
                </a:lnTo>
                <a:cubicBezTo>
                  <a:pt x="764446" y="4807248"/>
                  <a:pt x="747813" y="4802455"/>
                  <a:pt x="725444" y="4802455"/>
                </a:cubicBezTo>
                <a:close/>
                <a:moveTo>
                  <a:pt x="559835" y="4802455"/>
                </a:moveTo>
                <a:cubicBezTo>
                  <a:pt x="548869" y="4802455"/>
                  <a:pt x="538720" y="4804289"/>
                  <a:pt x="529663" y="4807762"/>
                </a:cubicBezTo>
                <a:lnTo>
                  <a:pt x="529596" y="4807805"/>
                </a:lnTo>
                <a:lnTo>
                  <a:pt x="528373" y="4808018"/>
                </a:lnTo>
                <a:cubicBezTo>
                  <a:pt x="501027" y="4818381"/>
                  <a:pt x="483587" y="4843416"/>
                  <a:pt x="483587" y="4877877"/>
                </a:cubicBezTo>
                <a:cubicBezTo>
                  <a:pt x="483587" y="4912775"/>
                  <a:pt x="498720" y="4937596"/>
                  <a:pt x="526397" y="4947825"/>
                </a:cubicBezTo>
                <a:lnTo>
                  <a:pt x="527143" y="4947947"/>
                </a:lnTo>
                <a:lnTo>
                  <a:pt x="527701" y="4948307"/>
                </a:lnTo>
                <a:cubicBezTo>
                  <a:pt x="536867" y="4951735"/>
                  <a:pt x="547417" y="4953533"/>
                  <a:pt x="559257" y="4953533"/>
                </a:cubicBezTo>
                <a:cubicBezTo>
                  <a:pt x="578429" y="4953533"/>
                  <a:pt x="597023" y="4950331"/>
                  <a:pt x="617069" y="4941908"/>
                </a:cubicBezTo>
                <a:cubicBezTo>
                  <a:pt x="621723" y="4939879"/>
                  <a:pt x="624338" y="4936678"/>
                  <a:pt x="624338" y="4930284"/>
                </a:cubicBezTo>
                <a:lnTo>
                  <a:pt x="624338" y="4824821"/>
                </a:lnTo>
                <a:cubicBezTo>
                  <a:pt x="624338" y="4818138"/>
                  <a:pt x="621723" y="4814946"/>
                  <a:pt x="617069" y="4813204"/>
                </a:cubicBezTo>
                <a:cubicBezTo>
                  <a:pt x="597898" y="4805936"/>
                  <a:pt x="579880" y="4802455"/>
                  <a:pt x="559835" y="4802455"/>
                </a:cubicBezTo>
                <a:close/>
                <a:moveTo>
                  <a:pt x="398012" y="4801292"/>
                </a:moveTo>
                <a:lnTo>
                  <a:pt x="396528" y="4801750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7" y="4940590"/>
                  <a:pt x="423937" y="4944348"/>
                </a:cubicBezTo>
                <a:cubicBezTo>
                  <a:pt x="423646" y="4944931"/>
                  <a:pt x="423646" y="4945505"/>
                  <a:pt x="423646" y="4946089"/>
                </a:cubicBezTo>
                <a:cubicBezTo>
                  <a:pt x="423646" y="4948394"/>
                  <a:pt x="425107" y="4950134"/>
                  <a:pt x="428030" y="4950134"/>
                </a:cubicBezTo>
                <a:lnTo>
                  <a:pt x="429441" y="4950134"/>
                </a:lnTo>
                <a:lnTo>
                  <a:pt x="429970" y="4950628"/>
                </a:lnTo>
                <a:lnTo>
                  <a:pt x="456122" y="4950628"/>
                </a:lnTo>
                <a:cubicBezTo>
                  <a:pt x="460477" y="4950628"/>
                  <a:pt x="462217" y="4949176"/>
                  <a:pt x="463669" y="4944812"/>
                </a:cubicBezTo>
                <a:cubicBezTo>
                  <a:pt x="465419" y="4939879"/>
                  <a:pt x="465995" y="4933196"/>
                  <a:pt x="465995" y="4928255"/>
                </a:cubicBezTo>
                <a:cubicBezTo>
                  <a:pt x="465995" y="4862299"/>
                  <a:pt x="372446" y="4878177"/>
                  <a:pt x="372446" y="4850972"/>
                </a:cubicBezTo>
                <a:cubicBezTo>
                  <a:pt x="372446" y="4846523"/>
                  <a:pt x="374698" y="4842891"/>
                  <a:pt x="378875" y="4840371"/>
                </a:cubicBezTo>
                <a:lnTo>
                  <a:pt x="395405" y="4836760"/>
                </a:lnTo>
                <a:lnTo>
                  <a:pt x="438849" y="4849557"/>
                </a:lnTo>
                <a:cubicBezTo>
                  <a:pt x="440310" y="4850418"/>
                  <a:pt x="441772" y="4850714"/>
                  <a:pt x="443233" y="4850714"/>
                </a:cubicBezTo>
                <a:lnTo>
                  <a:pt x="443816" y="4850348"/>
                </a:lnTo>
                <a:lnTo>
                  <a:pt x="445075" y="4850684"/>
                </a:lnTo>
                <a:cubicBezTo>
                  <a:pt x="447690" y="4850684"/>
                  <a:pt x="450306" y="4849231"/>
                  <a:pt x="451468" y="4846616"/>
                </a:cubicBezTo>
                <a:lnTo>
                  <a:pt x="460477" y="4827435"/>
                </a:lnTo>
                <a:cubicBezTo>
                  <a:pt x="461318" y="4825652"/>
                  <a:pt x="461640" y="4823954"/>
                  <a:pt x="461640" y="4822502"/>
                </a:cubicBezTo>
                <a:cubicBezTo>
                  <a:pt x="461640" y="4820176"/>
                  <a:pt x="460486" y="4817858"/>
                  <a:pt x="458151" y="4816686"/>
                </a:cubicBezTo>
                <a:cubicBezTo>
                  <a:pt x="440142" y="4806226"/>
                  <a:pt x="418636" y="4801292"/>
                  <a:pt x="398012" y="4801292"/>
                </a:cubicBezTo>
                <a:close/>
                <a:moveTo>
                  <a:pt x="1053744" y="4747249"/>
                </a:moveTo>
                <a:cubicBezTo>
                  <a:pt x="1017718" y="4747249"/>
                  <a:pt x="994182" y="4766420"/>
                  <a:pt x="994182" y="4808264"/>
                </a:cubicBezTo>
                <a:lnTo>
                  <a:pt x="994182" y="4944812"/>
                </a:lnTo>
                <a:cubicBezTo>
                  <a:pt x="994182" y="4948301"/>
                  <a:pt x="996508" y="4950628"/>
                  <a:pt x="999998" y="4950628"/>
                </a:cubicBezTo>
                <a:lnTo>
                  <a:pt x="1025852" y="4950628"/>
                </a:lnTo>
                <a:lnTo>
                  <a:pt x="1026345" y="4950134"/>
                </a:lnTo>
                <a:lnTo>
                  <a:pt x="1027795" y="4950134"/>
                </a:lnTo>
                <a:cubicBezTo>
                  <a:pt x="1031307" y="4950134"/>
                  <a:pt x="1033640" y="4947819"/>
                  <a:pt x="1033640" y="4944348"/>
                </a:cubicBezTo>
                <a:lnTo>
                  <a:pt x="1033640" y="4837419"/>
                </a:lnTo>
                <a:lnTo>
                  <a:pt x="1070781" y="4837419"/>
                </a:lnTo>
                <a:cubicBezTo>
                  <a:pt x="1074584" y="4837419"/>
                  <a:pt x="1076626" y="4835105"/>
                  <a:pt x="1076626" y="4831634"/>
                </a:cubicBezTo>
                <a:lnTo>
                  <a:pt x="1076626" y="4811692"/>
                </a:lnTo>
                <a:cubicBezTo>
                  <a:pt x="1076626" y="4807934"/>
                  <a:pt x="1074584" y="4805627"/>
                  <a:pt x="1070781" y="4805627"/>
                </a:cubicBezTo>
                <a:lnTo>
                  <a:pt x="1068815" y="4805627"/>
                </a:lnTo>
                <a:lnTo>
                  <a:pt x="1068560" y="4805359"/>
                </a:lnTo>
                <a:lnTo>
                  <a:pt x="1033640" y="4805359"/>
                </a:lnTo>
                <a:lnTo>
                  <a:pt x="1033640" y="4802443"/>
                </a:lnTo>
                <a:cubicBezTo>
                  <a:pt x="1033640" y="4786548"/>
                  <a:pt x="1040664" y="4778457"/>
                  <a:pt x="1056749" y="4778457"/>
                </a:cubicBezTo>
                <a:cubicBezTo>
                  <a:pt x="1062594" y="4778457"/>
                  <a:pt x="1068893" y="4779901"/>
                  <a:pt x="1071072" y="4779901"/>
                </a:cubicBezTo>
                <a:cubicBezTo>
                  <a:pt x="1074584" y="4779901"/>
                  <a:pt x="1076046" y="4777882"/>
                  <a:pt x="1076626" y="4774411"/>
                </a:cubicBezTo>
                <a:lnTo>
                  <a:pt x="1079557" y="4759385"/>
                </a:lnTo>
                <a:cubicBezTo>
                  <a:pt x="1079814" y="4758050"/>
                  <a:pt x="1080138" y="4756876"/>
                  <a:pt x="1080138" y="4755627"/>
                </a:cubicBezTo>
                <a:cubicBezTo>
                  <a:pt x="1080138" y="4752417"/>
                  <a:pt x="1078387" y="4750711"/>
                  <a:pt x="1074293" y="4749848"/>
                </a:cubicBezTo>
                <a:lnTo>
                  <a:pt x="1072405" y="4749641"/>
                </a:lnTo>
                <a:lnTo>
                  <a:pt x="1072049" y="4749285"/>
                </a:lnTo>
                <a:cubicBezTo>
                  <a:pt x="1066233" y="4747834"/>
                  <a:pt x="1059942" y="4747249"/>
                  <a:pt x="1053744" y="4747249"/>
                </a:cubicBezTo>
                <a:close/>
                <a:moveTo>
                  <a:pt x="1115152" y="4747131"/>
                </a:moveTo>
                <a:cubicBezTo>
                  <a:pt x="1102948" y="4747139"/>
                  <a:pt x="1095102" y="4754688"/>
                  <a:pt x="1095105" y="4767478"/>
                </a:cubicBezTo>
                <a:cubicBezTo>
                  <a:pt x="1095102" y="4779971"/>
                  <a:pt x="1102948" y="4787811"/>
                  <a:pt x="1116018" y="4787818"/>
                </a:cubicBezTo>
                <a:cubicBezTo>
                  <a:pt x="1127933" y="4787817"/>
                  <a:pt x="1136071" y="4779974"/>
                  <a:pt x="1136066" y="4767481"/>
                </a:cubicBezTo>
                <a:cubicBezTo>
                  <a:pt x="1136071" y="4754690"/>
                  <a:pt x="1127933" y="4747137"/>
                  <a:pt x="1115152" y="4747131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0F580B26-21D6-4630-AE3D-FB359C1C883E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9216309" y="1901915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16B17374-481A-4CE6-8974-CA84865A03CA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9216309" y="4860087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1748CB09-B51F-4AC1-A908-AF052BFFAB5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internal us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C28E44FC-CC99-479F-B667-CC0B04AA1BE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013E5883-7FD1-4C44-9ADB-EE49A08914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6602" y="2500883"/>
            <a:ext cx="4103397" cy="973837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32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EF5BFE2C-3893-4574-8E43-0A06788709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06602" y="3490415"/>
            <a:ext cx="4103397" cy="53795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3333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3333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E331AD24-1AAB-440A-917D-3BB2B9658DC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06602" y="4113499"/>
            <a:ext cx="4103397" cy="331244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l">
              <a:lnSpc>
                <a:spcPct val="100000"/>
              </a:lnSpc>
              <a:buFont typeface="Arial" panose="020B0604020202020204" pitchFamily="34" charset="0"/>
              <a:buNone/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385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Espace réservé du texte 5">
            <a:extLst>
              <a:ext uri="{FF2B5EF4-FFF2-40B4-BE49-F238E27FC236}">
                <a16:creationId xmlns:a16="http://schemas.microsoft.com/office/drawing/2014/main" id="{3FC96125-BC0F-469E-BA75-F4F2916D5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56171-4788-4B4A-B8DB-98CB348C66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3" y="1943799"/>
            <a:ext cx="11304000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E214CB94-27AF-41B7-A363-829DCFEBE7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11304000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7577A6-F24A-4B6D-B7E1-FB31180BD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690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Espace réservé pour une image  3">
            <a:extLst>
              <a:ext uri="{FF2B5EF4-FFF2-40B4-BE49-F238E27FC236}">
                <a16:creationId xmlns:a16="http://schemas.microsoft.com/office/drawing/2014/main" id="{CEC2E05F-5F9D-41D9-A40F-97C2869C7D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462400" y="0"/>
            <a:ext cx="3729600" cy="68580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39F8F8F8-B2E7-4739-8BFF-FA42634CE5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76512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E0A2CB60-A40E-44FE-B4B7-57EBEFEC0DF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7647827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614E260-5FC8-4D02-8571-9C1540BB2B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3" y="1943799"/>
            <a:ext cx="7647827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792EA-2F40-4220-B1A0-E938F3FB8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7647827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030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7E64057C-5A6F-41C9-B888-6149A71BAD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D67FA919-D04A-4310-ADDF-1120333F61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5373371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929FD931-0FD5-4A54-8BB1-79F5E8669C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4" y="1577578"/>
            <a:ext cx="5371001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AEBA920-ED61-4542-B852-868AA9D5A0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4" y="1943799"/>
            <a:ext cx="5371001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62E878-181A-4B45-B709-990F0EC3E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1" y="710401"/>
            <a:ext cx="5371001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963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Espace réservé pour une image  3">
            <a:extLst>
              <a:ext uri="{FF2B5EF4-FFF2-40B4-BE49-F238E27FC236}">
                <a16:creationId xmlns:a16="http://schemas.microsoft.com/office/drawing/2014/main" id="{CEC2E05F-5F9D-41D9-A40F-97C2869C7D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462400" y="0"/>
            <a:ext cx="3729600" cy="68580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39F8F8F8-B2E7-4739-8BFF-FA42634CE5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76512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E0A2CB60-A40E-44FE-B4B7-57EBEFEC0DF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7647827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614E260-5FC8-4D02-8571-9C1540BB2B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3" y="1943799"/>
            <a:ext cx="7647827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792EA-2F40-4220-B1A0-E938F3FB8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7647827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4456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s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B88BFE2C-28A1-438A-960B-E93F4C5FF58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51324" y="2077802"/>
            <a:ext cx="2922291" cy="21544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0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67A3D333-F7E4-4D2F-8B90-78E621A65AB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096000" y="2077802"/>
            <a:ext cx="2922291" cy="21544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0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Espace réservé pour une image  3">
            <a:extLst>
              <a:ext uri="{FF2B5EF4-FFF2-40B4-BE49-F238E27FC236}">
                <a16:creationId xmlns:a16="http://schemas.microsoft.com/office/drawing/2014/main" id="{D04D9ECA-57E3-42D4-AB59-AFDFC4994F90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44974" y="2439354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id="{A4ACE33E-54EC-45BB-A1EF-BC5E84D636C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096001" y="2439354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3DEB9B5-F15A-466E-8080-C371BE1672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719523" y="2439354"/>
            <a:ext cx="2745600" cy="22669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3DFB714-75E9-40A1-A9E1-32341A0AB2F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068498" y="2439354"/>
            <a:ext cx="2744537" cy="22669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8B0C0C30-D9D7-4BD7-AF39-B6CB516C98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1CD7C0F2-9ED1-4D8C-94FB-BE336E7168B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11304000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841BA8-9107-45A1-B4A7-F5FE729D4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4910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rgbClr val="E9E6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algn="r">
              <a:lnSpc>
                <a:spcPct val="110000"/>
              </a:lnSpc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2083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1998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1911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1823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4" y="1577577"/>
            <a:ext cx="2824073" cy="49244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5" y="1943799"/>
            <a:ext cx="2827013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2827447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1" name="Forme libre : forme 9">
            <a:extLst>
              <a:ext uri="{FF2B5EF4-FFF2-40B4-BE49-F238E27FC236}">
                <a16:creationId xmlns:a16="http://schemas.microsoft.com/office/drawing/2014/main" id="{F5349C85-4F38-41FC-8627-25D47DE73E7F}"/>
              </a:ext>
            </a:extLst>
          </p:cNvPr>
          <p:cNvSpPr>
            <a:spLocks noChangeAspect="1"/>
          </p:cNvSpPr>
          <p:nvPr userDrawn="1"/>
        </p:nvSpPr>
        <p:spPr>
          <a:xfrm>
            <a:off x="441599" y="6330316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32" name="Graphique 7">
            <a:extLst>
              <a:ext uri="{FF2B5EF4-FFF2-40B4-BE49-F238E27FC236}">
                <a16:creationId xmlns:a16="http://schemas.microsoft.com/office/drawing/2014/main" id="{06A5D6C0-9CFB-4C86-8BD0-9B0F6C1008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40" name="Forme libre : forme 9">
              <a:extLst>
                <a:ext uri="{FF2B5EF4-FFF2-40B4-BE49-F238E27FC236}">
                  <a16:creationId xmlns:a16="http://schemas.microsoft.com/office/drawing/2014/main" id="{7570A171-087A-451D-8C88-52D822ABF6D0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1" name="Forme libre : forme 10">
              <a:extLst>
                <a:ext uri="{FF2B5EF4-FFF2-40B4-BE49-F238E27FC236}">
                  <a16:creationId xmlns:a16="http://schemas.microsoft.com/office/drawing/2014/main" id="{FC3C9097-DD6E-4680-8304-A8A8F1E97DB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5" name="Forme libre : forme 11">
              <a:extLst>
                <a:ext uri="{FF2B5EF4-FFF2-40B4-BE49-F238E27FC236}">
                  <a16:creationId xmlns:a16="http://schemas.microsoft.com/office/drawing/2014/main" id="{BDB8E9CF-D9B2-4FB3-B1A5-B96BB1FF6D5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425418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EFA975DA-1F61-4E92-847F-881A6B959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2279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30" name="Espace réservé du texte 4">
            <a:extLst>
              <a:ext uri="{FF2B5EF4-FFF2-40B4-BE49-F238E27FC236}">
                <a16:creationId xmlns:a16="http://schemas.microsoft.com/office/drawing/2014/main" id="{F6E50AC3-1EA3-493F-A0D3-634DA300E2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52279" y="1577578"/>
            <a:ext cx="6459117" cy="245708"/>
          </a:xfrm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defRPr sz="160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Espace réservé du texte 4">
            <a:extLst>
              <a:ext uri="{FF2B5EF4-FFF2-40B4-BE49-F238E27FC236}">
                <a16:creationId xmlns:a16="http://schemas.microsoft.com/office/drawing/2014/main" id="{0E2314AF-F33D-4B84-8412-DF73ECC51E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3081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id="{8444AA6E-9EC0-4895-8FC6-4351D2BEE03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53884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E3BC2BD0-41C8-4C7A-BC1B-E444A392D0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054688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E6118210-A598-4833-8C53-BBA66CF5796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52279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140FC0A1-6231-4649-9573-C6772F9B84B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352279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2DAC1528-CEDA-41B5-AAAF-B8FF60A576A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253082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5FFDA929-E8A8-4AC0-99CE-44C3C6910AE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53082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9709CCCA-F00B-45D4-9788-1FBC4F09AA0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153886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B5E93FAA-61CE-40AC-8738-0DE2C5E1F42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53886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14A4C1F7-829A-4567-999B-287472F1F40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054690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A4030E47-E75C-4A3D-9FAD-95FD358BD57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054690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FA14FD7-95C9-4327-B716-189176F2E3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CBC1E183-B986-4005-B87A-30E837CB27F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4974" y="1577577"/>
            <a:ext cx="2824073" cy="49244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1183799-5968-4FC4-B6D2-F8DDF1F8685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42034" y="1943799"/>
            <a:ext cx="2827447" cy="42952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302392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609585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911977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0C5BA-4E6C-49B9-BC13-AE34B754C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2827447" cy="7482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Forme libre : forme 9">
            <a:extLst>
              <a:ext uri="{FF2B5EF4-FFF2-40B4-BE49-F238E27FC236}">
                <a16:creationId xmlns:a16="http://schemas.microsoft.com/office/drawing/2014/main" id="{A9C36C71-038F-4436-BBC3-96ADAFADF4C5}"/>
              </a:ext>
            </a:extLst>
          </p:cNvPr>
          <p:cNvSpPr>
            <a:spLocks noChangeAspect="1"/>
          </p:cNvSpPr>
          <p:nvPr userDrawn="1"/>
        </p:nvSpPr>
        <p:spPr>
          <a:xfrm>
            <a:off x="441599" y="6330316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27" name="Graphique 7">
            <a:extLst>
              <a:ext uri="{FF2B5EF4-FFF2-40B4-BE49-F238E27FC236}">
                <a16:creationId xmlns:a16="http://schemas.microsoft.com/office/drawing/2014/main" id="{DBF91248-A888-4963-A212-5E5A4549B3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8" name="Forme libre : forme 9">
              <a:extLst>
                <a:ext uri="{FF2B5EF4-FFF2-40B4-BE49-F238E27FC236}">
                  <a16:creationId xmlns:a16="http://schemas.microsoft.com/office/drawing/2014/main" id="{68EE507B-C9A9-4C38-B6EF-2887A9778C9A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4" name="Forme libre : forme 10">
              <a:extLst>
                <a:ext uri="{FF2B5EF4-FFF2-40B4-BE49-F238E27FC236}">
                  <a16:creationId xmlns:a16="http://schemas.microsoft.com/office/drawing/2014/main" id="{AE069B0D-3A77-4024-93DE-B14818FED9C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6" name="Forme libre : forme 11">
              <a:extLst>
                <a:ext uri="{FF2B5EF4-FFF2-40B4-BE49-F238E27FC236}">
                  <a16:creationId xmlns:a16="http://schemas.microsoft.com/office/drawing/2014/main" id="{4FEF900E-F4FF-408E-9225-41DC79A3C407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729105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able Placeholder 3">
            <a:extLst>
              <a:ext uri="{FF2B5EF4-FFF2-40B4-BE49-F238E27FC236}">
                <a16:creationId xmlns:a16="http://schemas.microsoft.com/office/drawing/2014/main" id="{828EDE46-3F40-4CF0-8732-22A2312E12B6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441384" y="1942730"/>
            <a:ext cx="11304000" cy="429629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Espace réservé du texte 5">
            <a:extLst>
              <a:ext uri="{FF2B5EF4-FFF2-40B4-BE49-F238E27FC236}">
                <a16:creationId xmlns:a16="http://schemas.microsoft.com/office/drawing/2014/main" id="{D46BD89B-81DC-413F-95C7-44BCE7D89F2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B46DC04F-F549-4DDB-B1AB-2032A0ED3E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11304000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A467E3-1BB0-45A9-9E32-33434B3E37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7390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2300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984036"/>
            <a:ext cx="9144000" cy="889928"/>
          </a:xfrm>
        </p:spPr>
        <p:txBody>
          <a:bodyPr anchor="ctr">
            <a:normAutofit/>
          </a:bodyPr>
          <a:lstStyle>
            <a:lvl1pPr algn="ctr">
              <a:defRPr sz="5333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1445" y="4346936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1445" y="2362265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Forme libre : forme 9">
            <a:extLst>
              <a:ext uri="{FF2B5EF4-FFF2-40B4-BE49-F238E27FC236}">
                <a16:creationId xmlns:a16="http://schemas.microsoft.com/office/drawing/2014/main" id="{9BDDF620-0779-479D-AEB4-C14EF8564C01}"/>
              </a:ext>
            </a:extLst>
          </p:cNvPr>
          <p:cNvSpPr>
            <a:spLocks noChangeAspect="1"/>
          </p:cNvSpPr>
          <p:nvPr userDrawn="1"/>
        </p:nvSpPr>
        <p:spPr>
          <a:xfrm>
            <a:off x="5559496" y="6014679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60063" y="6013890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175087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535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3" y="259371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itle only slid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|</a:t>
            </a:r>
            <a:r>
              <a:rPr lang="en-US" sz="800" baseline="16000"/>
              <a:t>        </a:t>
            </a:r>
            <a:fld id="{6797B004-35BA-4FA7-8589-B744D657AFB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484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FD0901-0131-4943-BF19-F2E92406D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1" y="346392"/>
            <a:ext cx="11226801" cy="5170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B66BED-3795-4E28-AE46-198C454580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54"/>
            <a:fld id="{980E94A8-0648-D043-B8F7-3AFA110B04BE}" type="slidenum">
              <a:rPr lang="fr-FR" smtClean="0">
                <a:solidFill>
                  <a:srgbClr val="6B747B"/>
                </a:solidFill>
              </a:rPr>
              <a:pPr defTabSz="914354"/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577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7E64057C-5A6F-41C9-B888-6149A71BAD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D67FA919-D04A-4310-ADDF-1120333F61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5373371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929FD931-0FD5-4A54-8BB1-79F5E8669C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4" y="1577578"/>
            <a:ext cx="5371001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AEBA920-ED61-4542-B852-868AA9D5A0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4" y="1943799"/>
            <a:ext cx="5371001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62E878-181A-4B45-B709-990F0EC3E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1" y="710401"/>
            <a:ext cx="5371001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803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s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B88BFE2C-28A1-438A-960B-E93F4C5FF58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51324" y="2077802"/>
            <a:ext cx="2922291" cy="21544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0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67A3D333-F7E4-4D2F-8B90-78E621A65AB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096000" y="2077802"/>
            <a:ext cx="2922291" cy="21544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0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Espace réservé pour une image  3">
            <a:extLst>
              <a:ext uri="{FF2B5EF4-FFF2-40B4-BE49-F238E27FC236}">
                <a16:creationId xmlns:a16="http://schemas.microsoft.com/office/drawing/2014/main" id="{D04D9ECA-57E3-42D4-AB59-AFDFC4994F90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44974" y="2439354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id="{A4ACE33E-54EC-45BB-A1EF-BC5E84D636C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096001" y="2439354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3DEB9B5-F15A-466E-8080-C371BE1672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719523" y="2439354"/>
            <a:ext cx="2745600" cy="22669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3DFB714-75E9-40A1-A9E1-32341A0AB2F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068498" y="2439354"/>
            <a:ext cx="2744537" cy="22669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8B0C0C30-D9D7-4BD7-AF39-B6CB516C98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1CD7C0F2-9ED1-4D8C-94FB-BE336E7168B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11304000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841BA8-9107-45A1-B4A7-F5FE729D4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0892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rgbClr val="E9E6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algn="r">
              <a:lnSpc>
                <a:spcPct val="110000"/>
              </a:lnSpc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2083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1998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1911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1823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4" y="1577577"/>
            <a:ext cx="2824073" cy="49244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5" y="1943799"/>
            <a:ext cx="2827013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2827447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1" name="Forme libre : forme 9">
            <a:extLst>
              <a:ext uri="{FF2B5EF4-FFF2-40B4-BE49-F238E27FC236}">
                <a16:creationId xmlns:a16="http://schemas.microsoft.com/office/drawing/2014/main" id="{F5349C85-4F38-41FC-8627-25D47DE73E7F}"/>
              </a:ext>
            </a:extLst>
          </p:cNvPr>
          <p:cNvSpPr>
            <a:spLocks noChangeAspect="1"/>
          </p:cNvSpPr>
          <p:nvPr userDrawn="1"/>
        </p:nvSpPr>
        <p:spPr>
          <a:xfrm>
            <a:off x="441599" y="6330316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32" name="Graphique 7">
            <a:extLst>
              <a:ext uri="{FF2B5EF4-FFF2-40B4-BE49-F238E27FC236}">
                <a16:creationId xmlns:a16="http://schemas.microsoft.com/office/drawing/2014/main" id="{06A5D6C0-9CFB-4C86-8BD0-9B0F6C1008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40" name="Forme libre : forme 9">
              <a:extLst>
                <a:ext uri="{FF2B5EF4-FFF2-40B4-BE49-F238E27FC236}">
                  <a16:creationId xmlns:a16="http://schemas.microsoft.com/office/drawing/2014/main" id="{7570A171-087A-451D-8C88-52D822ABF6D0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1" name="Forme libre : forme 10">
              <a:extLst>
                <a:ext uri="{FF2B5EF4-FFF2-40B4-BE49-F238E27FC236}">
                  <a16:creationId xmlns:a16="http://schemas.microsoft.com/office/drawing/2014/main" id="{FC3C9097-DD6E-4680-8304-A8A8F1E97DB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5" name="Forme libre : forme 11">
              <a:extLst>
                <a:ext uri="{FF2B5EF4-FFF2-40B4-BE49-F238E27FC236}">
                  <a16:creationId xmlns:a16="http://schemas.microsoft.com/office/drawing/2014/main" id="{BDB8E9CF-D9B2-4FB3-B1A5-B96BB1FF6D5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329772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EFA975DA-1F61-4E92-847F-881A6B959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2279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30" name="Espace réservé du texte 4">
            <a:extLst>
              <a:ext uri="{FF2B5EF4-FFF2-40B4-BE49-F238E27FC236}">
                <a16:creationId xmlns:a16="http://schemas.microsoft.com/office/drawing/2014/main" id="{F6E50AC3-1EA3-493F-A0D3-634DA300E2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52279" y="1577578"/>
            <a:ext cx="6459117" cy="245708"/>
          </a:xfrm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defRPr sz="160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Espace réservé du texte 4">
            <a:extLst>
              <a:ext uri="{FF2B5EF4-FFF2-40B4-BE49-F238E27FC236}">
                <a16:creationId xmlns:a16="http://schemas.microsoft.com/office/drawing/2014/main" id="{0E2314AF-F33D-4B84-8412-DF73ECC51E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3081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id="{8444AA6E-9EC0-4895-8FC6-4351D2BEE03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53884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E3BC2BD0-41C8-4C7A-BC1B-E444A392D0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054688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E6118210-A598-4833-8C53-BBA66CF5796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52279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140FC0A1-6231-4649-9573-C6772F9B84B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352279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2DAC1528-CEDA-41B5-AAAF-B8FF60A576A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253082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5FFDA929-E8A8-4AC0-99CE-44C3C6910AE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53082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9709CCCA-F00B-45D4-9788-1FBC4F09AA0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153886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B5E93FAA-61CE-40AC-8738-0DE2C5E1F42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53886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14A4C1F7-829A-4567-999B-287472F1F40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054690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467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A4030E47-E75C-4A3D-9FAD-95FD358BD57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054690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933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FA14FD7-95C9-4327-B716-189176F2E3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CBC1E183-B986-4005-B87A-30E837CB27F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4974" y="1577577"/>
            <a:ext cx="2824073" cy="49244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1183799-5968-4FC4-B6D2-F8DDF1F8685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42034" y="1943799"/>
            <a:ext cx="2827447" cy="42952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302392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609585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911977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0C5BA-4E6C-49B9-BC13-AE34B754C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2827447" cy="7482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Forme libre : forme 9">
            <a:extLst>
              <a:ext uri="{FF2B5EF4-FFF2-40B4-BE49-F238E27FC236}">
                <a16:creationId xmlns:a16="http://schemas.microsoft.com/office/drawing/2014/main" id="{A9C36C71-038F-4436-BBC3-96ADAFADF4C5}"/>
              </a:ext>
            </a:extLst>
          </p:cNvPr>
          <p:cNvSpPr>
            <a:spLocks noChangeAspect="1"/>
          </p:cNvSpPr>
          <p:nvPr userDrawn="1"/>
        </p:nvSpPr>
        <p:spPr>
          <a:xfrm>
            <a:off x="441599" y="6330316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27" name="Graphique 7">
            <a:extLst>
              <a:ext uri="{FF2B5EF4-FFF2-40B4-BE49-F238E27FC236}">
                <a16:creationId xmlns:a16="http://schemas.microsoft.com/office/drawing/2014/main" id="{DBF91248-A888-4963-A212-5E5A4549B3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8" name="Forme libre : forme 9">
              <a:extLst>
                <a:ext uri="{FF2B5EF4-FFF2-40B4-BE49-F238E27FC236}">
                  <a16:creationId xmlns:a16="http://schemas.microsoft.com/office/drawing/2014/main" id="{68EE507B-C9A9-4C38-B6EF-2887A9778C9A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4" name="Forme libre : forme 10">
              <a:extLst>
                <a:ext uri="{FF2B5EF4-FFF2-40B4-BE49-F238E27FC236}">
                  <a16:creationId xmlns:a16="http://schemas.microsoft.com/office/drawing/2014/main" id="{AE069B0D-3A77-4024-93DE-B14818FED9C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6" name="Forme libre : forme 11">
              <a:extLst>
                <a:ext uri="{FF2B5EF4-FFF2-40B4-BE49-F238E27FC236}">
                  <a16:creationId xmlns:a16="http://schemas.microsoft.com/office/drawing/2014/main" id="{4FEF900E-F4FF-408E-9225-41DC79A3C407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314550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able Placeholder 3">
            <a:extLst>
              <a:ext uri="{FF2B5EF4-FFF2-40B4-BE49-F238E27FC236}">
                <a16:creationId xmlns:a16="http://schemas.microsoft.com/office/drawing/2014/main" id="{828EDE46-3F40-4CF0-8732-22A2312E12B6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441384" y="1942730"/>
            <a:ext cx="11304000" cy="429629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Espace réservé du texte 5">
            <a:extLst>
              <a:ext uri="{FF2B5EF4-FFF2-40B4-BE49-F238E27FC236}">
                <a16:creationId xmlns:a16="http://schemas.microsoft.com/office/drawing/2014/main" id="{D46BD89B-81DC-413F-95C7-44BCE7D89F2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B46DC04F-F549-4DDB-B1AB-2032A0ED3E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11304000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A467E3-1BB0-45A9-9E32-33434B3E37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8818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que 7">
            <a:extLst>
              <a:ext uri="{FF2B5EF4-FFF2-40B4-BE49-F238E27FC236}">
                <a16:creationId xmlns:a16="http://schemas.microsoft.com/office/drawing/2014/main" id="{AAE34BD0-96F3-484E-823D-846BCF7077C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15443" y="2970600"/>
            <a:ext cx="3561116" cy="91680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5ACEFF7-2172-4E31-95A5-2822B762DCC8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156C511D-58A1-442A-9FDB-13B83505C8E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33BB5D3E-7EA3-4217-8524-E90CF2B6AC62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78234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2300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984036"/>
            <a:ext cx="9144000" cy="889928"/>
          </a:xfrm>
        </p:spPr>
        <p:txBody>
          <a:bodyPr anchor="ctr">
            <a:normAutofit/>
          </a:bodyPr>
          <a:lstStyle>
            <a:lvl1pPr algn="ctr">
              <a:defRPr sz="5333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1445" y="4346936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1445" y="2362265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Forme libre : forme 9">
            <a:extLst>
              <a:ext uri="{FF2B5EF4-FFF2-40B4-BE49-F238E27FC236}">
                <a16:creationId xmlns:a16="http://schemas.microsoft.com/office/drawing/2014/main" id="{9BDDF620-0779-479D-AEB4-C14EF8564C01}"/>
              </a:ext>
            </a:extLst>
          </p:cNvPr>
          <p:cNvSpPr>
            <a:spLocks noChangeAspect="1"/>
          </p:cNvSpPr>
          <p:nvPr userDrawn="1"/>
        </p:nvSpPr>
        <p:spPr>
          <a:xfrm>
            <a:off x="5559496" y="6014679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60063" y="6013890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41668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480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08832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necteur droit 11"/>
          <p:cNvCxnSpPr/>
          <p:nvPr/>
        </p:nvCxnSpPr>
        <p:spPr>
          <a:xfrm>
            <a:off x="3572933" y="5505451"/>
            <a:ext cx="0" cy="10033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1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9984" y="5822951"/>
            <a:ext cx="296968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3787140" y="6052567"/>
            <a:ext cx="8040793" cy="443199"/>
          </a:xfrm>
        </p:spPr>
        <p:txBody>
          <a:bodyPr>
            <a:spAutoFit/>
          </a:bodyPr>
          <a:lstStyle>
            <a:lvl1pPr marL="0" indent="0" algn="r">
              <a:buNone/>
              <a:defRPr sz="320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174400"/>
          </a:xfrm>
        </p:spPr>
        <p:txBody>
          <a:bodyPr rtlCol="0">
            <a:noAutofit/>
          </a:bodyPr>
          <a:lstStyle/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87140" y="5424000"/>
            <a:ext cx="8035531" cy="590931"/>
          </a:xfrm>
        </p:spPr>
        <p:txBody>
          <a:bodyPr anchor="b"/>
          <a:lstStyle>
            <a:lvl1pPr algn="r">
              <a:defRPr sz="4267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3899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277130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necteur droit 11"/>
          <p:cNvCxnSpPr/>
          <p:nvPr/>
        </p:nvCxnSpPr>
        <p:spPr>
          <a:xfrm>
            <a:off x="3572933" y="5505451"/>
            <a:ext cx="0" cy="10033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1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9984" y="5822951"/>
            <a:ext cx="296968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51744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fr-FR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839571" y="5424000"/>
            <a:ext cx="7983100" cy="590931"/>
          </a:xfrm>
        </p:spPr>
        <p:txBody>
          <a:bodyPr anchor="b"/>
          <a:lstStyle>
            <a:lvl1pPr algn="r">
              <a:defRPr sz="4267">
                <a:solidFill>
                  <a:schemeClr val="accent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848668" y="6057601"/>
            <a:ext cx="7979264" cy="365279"/>
          </a:xfrm>
        </p:spPr>
        <p:txBody>
          <a:bodyPr/>
          <a:lstStyle>
            <a:lvl1pPr marL="0" indent="0" algn="r">
              <a:buNone/>
              <a:defRPr sz="3200" b="0" baseline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085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98718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1173377" y="1365252"/>
            <a:ext cx="10130393" cy="4895849"/>
          </a:xfrm>
        </p:spPr>
        <p:txBody>
          <a:bodyPr/>
          <a:lstStyle>
            <a:lvl1pPr marL="222245" indent="-222245">
              <a:spcBef>
                <a:spcPts val="1200"/>
              </a:spcBef>
              <a:buFont typeface="Arial" charset="0"/>
              <a:buChar char="•"/>
              <a:tabLst>
                <a:tab pos="11279435" algn="r"/>
              </a:tabLst>
              <a:defRPr sz="2400" b="0" baseline="0"/>
            </a:lvl1pPr>
            <a:lvl2pPr marL="400041" indent="-177796">
              <a:spcBef>
                <a:spcPts val="0"/>
              </a:spcBef>
              <a:buFont typeface="Arial" charset="0"/>
              <a:buChar char="•"/>
              <a:tabLst>
                <a:tab pos="11279718" algn="r"/>
              </a:tabLst>
              <a:defRPr sz="2133"/>
            </a:lvl2pPr>
            <a:lvl3pPr marL="361940" indent="0">
              <a:buNone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0300" y="6441018"/>
            <a:ext cx="414867" cy="1642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67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defTabSz="914377">
              <a:defRPr/>
            </a:pPr>
            <a:fld id="{CA2D226C-31FF-4F1D-9EDD-AFD8C69927AB}" type="slidenum">
              <a:rPr lang="fr-FR" smtClean="0">
                <a:solidFill>
                  <a:srgbClr val="6B747B"/>
                </a:solidFill>
              </a:rPr>
              <a:pPr defTabSz="914377"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4695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7980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78366" y="1777407"/>
            <a:ext cx="11226801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478366" y="950401"/>
            <a:ext cx="11226801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2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0300" y="6441018"/>
            <a:ext cx="414867" cy="1642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67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defTabSz="914377">
              <a:defRPr/>
            </a:pPr>
            <a:fld id="{CA2D226C-31FF-4F1D-9EDD-AFD8C69927AB}" type="slidenum">
              <a:rPr lang="fr-FR" smtClean="0">
                <a:solidFill>
                  <a:srgbClr val="6B747B"/>
                </a:solidFill>
              </a:rPr>
              <a:pPr defTabSz="914377"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5689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2809702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673400" y="1820334"/>
            <a:ext cx="5477141" cy="4166193"/>
          </a:xfrm>
        </p:spPr>
        <p:txBody>
          <a:bodyPr/>
          <a:lstStyle>
            <a:lvl1pPr>
              <a:defRPr baseline="0"/>
            </a:lvl1pPr>
            <a:lvl2pPr marL="361942" indent="-182029">
              <a:tabLst/>
              <a:defRPr/>
            </a:lvl2pPr>
            <a:lvl3pPr marL="514338" indent="-17568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e la date 2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7" name="Espace réservé du pied de page 24"/>
          <p:cNvSpPr>
            <a:spLocks noGrp="1"/>
          </p:cNvSpPr>
          <p:nvPr>
            <p:ph type="ftr" sz="quarter" idx="19"/>
          </p:nvPr>
        </p:nvSpPr>
        <p:spPr>
          <a:xfrm>
            <a:off x="2810934" y="6441018"/>
            <a:ext cx="7708900" cy="1651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6B747B"/>
                </a:solidFill>
                <a:cs typeface="Arial" pitchFamily="34" charset="0"/>
              </a:rPr>
              <a:t>MAT-US-2204959-v1.0-07/2022</a:t>
            </a:r>
          </a:p>
        </p:txBody>
      </p:sp>
      <p:sp>
        <p:nvSpPr>
          <p:cNvPr id="9" name="Espace réservé du numéro de diapositive 2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0D83F-6220-46EB-84C5-25EEF69291A4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3495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088075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78366" y="1777407"/>
            <a:ext cx="5252604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6096001" y="1316568"/>
            <a:ext cx="5609167" cy="4944533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fr-FR" noProof="0"/>
          </a:p>
        </p:txBody>
      </p:sp>
      <p:sp>
        <p:nvSpPr>
          <p:cNvPr id="6" name="Espace réservé de la date 2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9" name="Espace réservé du pied de page 24"/>
          <p:cNvSpPr>
            <a:spLocks noGrp="1"/>
          </p:cNvSpPr>
          <p:nvPr>
            <p:ph type="ftr" sz="quarter" idx="20"/>
          </p:nvPr>
        </p:nvSpPr>
        <p:spPr>
          <a:xfrm>
            <a:off x="2810934" y="6441018"/>
            <a:ext cx="7708900" cy="1651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6B747B"/>
                </a:solidFill>
                <a:cs typeface="Arial" pitchFamily="34" charset="0"/>
              </a:rPr>
              <a:t>MAT-US-2204959-v1.0-07/2022</a:t>
            </a:r>
          </a:p>
        </p:txBody>
      </p:sp>
      <p:sp>
        <p:nvSpPr>
          <p:cNvPr id="10" name="Espace réservé du numéro de diapositive 2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9B6994-C25D-4C1D-80B8-D9B6AF97921C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0585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+ 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096001" y="5740401"/>
            <a:ext cx="5609167" cy="520700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fr-FR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78366" y="1777407"/>
            <a:ext cx="5252604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6096001" y="1316567"/>
            <a:ext cx="5609167" cy="4427064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fr-FR" noProof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/>
          </p:nvPr>
        </p:nvSpPr>
        <p:spPr>
          <a:xfrm>
            <a:off x="6265138" y="5895707"/>
            <a:ext cx="5262229" cy="194733"/>
          </a:xfrm>
        </p:spPr>
        <p:txBody>
          <a:bodyPr/>
          <a:lstStyle>
            <a:lvl1pPr marL="0" indent="0" algn="r">
              <a:buNone/>
              <a:defRPr sz="1867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e la date 23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21"/>
          </p:nvPr>
        </p:nvSpPr>
        <p:spPr>
          <a:xfrm>
            <a:off x="2810934" y="6441018"/>
            <a:ext cx="7708900" cy="1651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6B747B"/>
                </a:solidFill>
                <a:cs typeface="Arial" pitchFamily="34" charset="0"/>
              </a:rPr>
              <a:t>MAT-US-2204959-v1.0-07/2022</a:t>
            </a:r>
          </a:p>
        </p:txBody>
      </p:sp>
      <p:sp>
        <p:nvSpPr>
          <p:cNvPr id="12" name="Espace réservé du numéro de diapositive 2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E767E7-271B-4410-9EC7-F82B70F91A4C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260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78367" y="5740401"/>
            <a:ext cx="11226800" cy="520700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fr-FR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78366" y="1653117"/>
            <a:ext cx="11226801" cy="4142315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fr-FR" noProof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/>
          </p:nvPr>
        </p:nvSpPr>
        <p:spPr>
          <a:xfrm>
            <a:off x="627219" y="5894400"/>
            <a:ext cx="10900149" cy="194733"/>
          </a:xfrm>
        </p:spPr>
        <p:txBody>
          <a:bodyPr/>
          <a:lstStyle>
            <a:lvl1pPr marL="0" indent="0" algn="r">
              <a:buNone/>
              <a:defRPr sz="1867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23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9" name="Espace réservé du pied de page 24"/>
          <p:cNvSpPr>
            <a:spLocks noGrp="1"/>
          </p:cNvSpPr>
          <p:nvPr>
            <p:ph type="ftr" sz="quarter" idx="21"/>
          </p:nvPr>
        </p:nvSpPr>
        <p:spPr>
          <a:xfrm>
            <a:off x="2810934" y="6441018"/>
            <a:ext cx="7708900" cy="1651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6B747B"/>
                </a:solidFill>
                <a:cs typeface="Arial" pitchFamily="34" charset="0"/>
              </a:rPr>
              <a:t>MAT-US-2204959-v1.0-07/2022</a:t>
            </a:r>
          </a:p>
        </p:txBody>
      </p:sp>
      <p:sp>
        <p:nvSpPr>
          <p:cNvPr id="10" name="Espace réservé du numéro de diapositive 2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610593-0AC4-4DD7-B3EC-77EED2FD628B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865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9131" y="4999905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9131" y="1548016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28661" y="444457"/>
            <a:ext cx="1134681" cy="29212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24400" y="6106773"/>
            <a:ext cx="2743200" cy="366183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01F2B667-7264-4505-9F19-2E4AB44996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0778" y="1926301"/>
            <a:ext cx="9230445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56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57CD9AAA-CCAE-44AF-A224-A38A0B786F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778" y="3758157"/>
            <a:ext cx="9230445" cy="53795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56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F176A07A-C4FF-49D0-80C5-1B4F36FB3A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0778" y="4513248"/>
            <a:ext cx="9230445" cy="30838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5350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78367" y="1653118"/>
            <a:ext cx="11226800" cy="4607983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fr-FR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670519" y="1819200"/>
            <a:ext cx="5213237" cy="455155"/>
          </a:xfrm>
        </p:spPr>
        <p:txBody>
          <a:bodyPr/>
          <a:lstStyle>
            <a:lvl1pPr>
              <a:defRPr baseline="0"/>
            </a:lvl1pPr>
            <a:lvl2pPr marL="361942" indent="-182029">
              <a:tabLst/>
              <a:defRPr/>
            </a:lvl2pPr>
            <a:lvl3pPr marL="514338" indent="-17568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670519" y="2279651"/>
            <a:ext cx="10759653" cy="3837492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chart</a:t>
            </a:r>
            <a:endParaRPr lang="fr-FR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/>
          </p:nvPr>
        </p:nvSpPr>
        <p:spPr>
          <a:xfrm>
            <a:off x="670519" y="5899530"/>
            <a:ext cx="3579283" cy="224660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e la date 23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11" name="Espace réservé du pied de page 24"/>
          <p:cNvSpPr>
            <a:spLocks noGrp="1"/>
          </p:cNvSpPr>
          <p:nvPr>
            <p:ph type="ftr" sz="quarter" idx="21"/>
          </p:nvPr>
        </p:nvSpPr>
        <p:spPr>
          <a:xfrm>
            <a:off x="2810934" y="6441018"/>
            <a:ext cx="7708900" cy="1651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6B747B"/>
                </a:solidFill>
                <a:cs typeface="Arial" pitchFamily="34" charset="0"/>
              </a:rPr>
              <a:t>MAT-US-2204959-v1.0-07/2022</a:t>
            </a:r>
          </a:p>
        </p:txBody>
      </p:sp>
      <p:sp>
        <p:nvSpPr>
          <p:cNvPr id="12" name="Espace réservé du numéro de diapositive 2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7FB55E-B764-4A1C-A0D5-ADB66FD17FA0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1814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40782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478366" y="1653117"/>
            <a:ext cx="11226801" cy="4428067"/>
          </a:xfrm>
          <a:noFill/>
          <a:ln>
            <a:noFill/>
          </a:ln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table</a:t>
            </a:r>
            <a:endParaRPr lang="fr-FR" noProof="0"/>
          </a:p>
        </p:txBody>
      </p:sp>
      <p:sp>
        <p:nvSpPr>
          <p:cNvPr id="6" name="Espace réservé de la date 2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7" name="Espace réservé du pied de page 24"/>
          <p:cNvSpPr>
            <a:spLocks noGrp="1"/>
          </p:cNvSpPr>
          <p:nvPr>
            <p:ph type="ftr" sz="quarter" idx="20"/>
          </p:nvPr>
        </p:nvSpPr>
        <p:spPr>
          <a:xfrm>
            <a:off x="2810934" y="6441018"/>
            <a:ext cx="7708900" cy="1651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6B747B"/>
                </a:solidFill>
                <a:cs typeface="Arial" pitchFamily="34" charset="0"/>
              </a:rPr>
              <a:t>MAT-US-2204959-v1.0-07/2022</a:t>
            </a:r>
          </a:p>
        </p:txBody>
      </p:sp>
      <p:sp>
        <p:nvSpPr>
          <p:cNvPr id="8" name="Espace réservé du numéro de diapositive 2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5382EB-123F-45E5-9981-92E46C31BB4C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8010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478366" y="950401"/>
            <a:ext cx="11226801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/>
          </p:nvPr>
        </p:nvSpPr>
        <p:spPr>
          <a:xfrm>
            <a:off x="478366" y="2114856"/>
            <a:ext cx="5617633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/>
          </p:nvPr>
        </p:nvSpPr>
        <p:spPr>
          <a:xfrm>
            <a:off x="478366" y="2455290"/>
            <a:ext cx="5617633" cy="1456676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/>
          </p:nvPr>
        </p:nvSpPr>
        <p:spPr>
          <a:xfrm>
            <a:off x="478366" y="3369144"/>
            <a:ext cx="5617633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/>
          </p:nvPr>
        </p:nvSpPr>
        <p:spPr>
          <a:xfrm>
            <a:off x="6091949" y="2104443"/>
            <a:ext cx="5617633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/>
          </p:nvPr>
        </p:nvSpPr>
        <p:spPr>
          <a:xfrm>
            <a:off x="6091949" y="3035840"/>
            <a:ext cx="5617633" cy="1051553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/>
          </p:nvPr>
        </p:nvSpPr>
        <p:spPr>
          <a:xfrm>
            <a:off x="478368" y="4306019"/>
            <a:ext cx="5626403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/>
          </p:nvPr>
        </p:nvSpPr>
        <p:spPr>
          <a:xfrm>
            <a:off x="478368" y="5237416"/>
            <a:ext cx="5626403" cy="1023685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/>
          </p:nvPr>
        </p:nvSpPr>
        <p:spPr>
          <a:xfrm>
            <a:off x="6096001" y="4526944"/>
            <a:ext cx="5604809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/>
          </p:nvPr>
        </p:nvSpPr>
        <p:spPr>
          <a:xfrm>
            <a:off x="6096001" y="4867379"/>
            <a:ext cx="5604809" cy="1393723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e la date 23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14" name="Espace réservé du pied de page 24"/>
          <p:cNvSpPr>
            <a:spLocks noGrp="1"/>
          </p:cNvSpPr>
          <p:nvPr>
            <p:ph type="ftr" sz="quarter" idx="29"/>
          </p:nvPr>
        </p:nvSpPr>
        <p:spPr>
          <a:xfrm>
            <a:off x="2810934" y="6441018"/>
            <a:ext cx="7708900" cy="1651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6B747B"/>
                </a:solidFill>
                <a:cs typeface="Arial" pitchFamily="34" charset="0"/>
              </a:rPr>
              <a:t>MAT-US-2204959-v1.0-07/2022</a:t>
            </a:r>
          </a:p>
        </p:txBody>
      </p:sp>
      <p:sp>
        <p:nvSpPr>
          <p:cNvPr id="15" name="Espace réservé du numéro de diapositive 25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424FFA-C1FC-4E9C-AD3A-B981EC34C224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0534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92000" cy="536151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fr-FR" sz="1800" baseline="30000">
              <a:solidFill>
                <a:srgbClr val="FFFFFF"/>
              </a:solidFill>
            </a:endParaRPr>
          </a:p>
        </p:txBody>
      </p:sp>
      <p:pic>
        <p:nvPicPr>
          <p:cNvPr id="4" name="Image 1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584" y="5873751"/>
            <a:ext cx="3968749" cy="493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0" y="631265"/>
            <a:ext cx="12192000" cy="2732799"/>
          </a:xfrm>
        </p:spPr>
        <p:txBody>
          <a:bodyPr anchor="b"/>
          <a:lstStyle>
            <a:lvl1pPr algn="ctr">
              <a:defRPr sz="9866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809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2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6" name="Espace réservé du numéro de diapositive 2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1AB489-DD4E-46E9-9BC4-0FDF1F413B36}" type="slidenum">
              <a:rPr lang="fr-FR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204666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6086" y="446319"/>
            <a:ext cx="10477500" cy="517064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836084" y="1390650"/>
            <a:ext cx="5139267" cy="42481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8553" y="1390650"/>
            <a:ext cx="5141383" cy="42481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0300" y="6441018"/>
            <a:ext cx="414867" cy="1642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67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defTabSz="914377">
              <a:defRPr/>
            </a:pPr>
            <a:fld id="{CA2D226C-31FF-4F1D-9EDD-AFD8C69927AB}" type="slidenum">
              <a:rPr lang="fr-FR" smtClean="0">
                <a:solidFill>
                  <a:srgbClr val="6B747B"/>
                </a:solidFill>
              </a:rPr>
              <a:pPr defTabSz="914377"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730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98347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re 1"/>
          <p:cNvSpPr>
            <a:spLocks noGrp="1"/>
          </p:cNvSpPr>
          <p:nvPr>
            <p:ph type="title"/>
          </p:nvPr>
        </p:nvSpPr>
        <p:spPr>
          <a:xfrm>
            <a:off x="624000" y="667797"/>
            <a:ext cx="10944000" cy="517001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2" name="Espace réservé du contenu 2"/>
          <p:cNvSpPr>
            <a:spLocks noGrp="1"/>
          </p:cNvSpPr>
          <p:nvPr>
            <p:ph idx="1"/>
          </p:nvPr>
        </p:nvSpPr>
        <p:spPr>
          <a:xfrm>
            <a:off x="624000" y="1392003"/>
            <a:ext cx="10944000" cy="164147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10284664" y="6441567"/>
            <a:ext cx="1035587" cy="164148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8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11289993" y="6441567"/>
            <a:ext cx="414748" cy="164148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9147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052395"/>
              </p:ext>
            </p:extLst>
          </p:nvPr>
        </p:nvGraphicFramePr>
        <p:xfrm>
          <a:off x="2157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7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178400" y="248166"/>
            <a:ext cx="11835533" cy="517001"/>
          </a:xfrm>
          <a:prstGeom prst="rect">
            <a:avLst/>
          </a:prstGeom>
        </p:spPr>
        <p:txBody>
          <a:bodyPr anchor="ctr"/>
          <a:lstStyle/>
          <a:p>
            <a:endParaRPr lang="fr-FR"/>
          </a:p>
        </p:txBody>
      </p:sp>
      <p:sp>
        <p:nvSpPr>
          <p:cNvPr id="5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10284664" y="6441567"/>
            <a:ext cx="1035587" cy="164148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7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11289993" y="6441567"/>
            <a:ext cx="414748" cy="164148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6429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 &amp; com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48979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5747658" y="1054100"/>
            <a:ext cx="6266276" cy="5156200"/>
          </a:xfrm>
          <a:prstGeom prst="rect">
            <a:avLst/>
          </a:prstGeom>
        </p:spPr>
        <p:txBody>
          <a:bodyPr/>
          <a:lstStyle>
            <a:lvl1pPr marL="241294" indent="-241294">
              <a:defRPr sz="1467" b="0"/>
            </a:lvl1pPr>
            <a:lvl2pPr marL="482588" indent="-241294">
              <a:defRPr sz="1467" b="0"/>
            </a:lvl2pPr>
            <a:lvl3pPr marL="723882" indent="-241294">
              <a:defRPr sz="1333" b="0"/>
            </a:lvl3pPr>
            <a:lvl4pPr marL="952476" indent="-228594">
              <a:defRPr sz="1333" b="0"/>
            </a:lvl4pPr>
            <a:lvl5pPr marL="1320767" indent="-241294">
              <a:defRPr sz="1333" b="0"/>
            </a:lvl5pPr>
          </a:lstStyle>
          <a:p>
            <a:pPr lvl="0"/>
            <a:r>
              <a:rPr lang="fr-FR" err="1"/>
              <a:t>Title</a:t>
            </a:r>
            <a:endParaRPr lang="fr-FR"/>
          </a:p>
          <a:p>
            <a:pPr lvl="1"/>
            <a:r>
              <a:rPr lang="fr-FR" err="1"/>
              <a:t>Level</a:t>
            </a:r>
            <a:r>
              <a:rPr lang="fr-FR"/>
              <a:t> 1</a:t>
            </a:r>
          </a:p>
          <a:p>
            <a:pPr lvl="2"/>
            <a:r>
              <a:rPr lang="fr-FR" err="1"/>
              <a:t>Level</a:t>
            </a:r>
            <a:r>
              <a:rPr lang="fr-FR"/>
              <a:t> 2</a:t>
            </a:r>
          </a:p>
          <a:p>
            <a:pPr lvl="3"/>
            <a:r>
              <a:rPr lang="fr-FR" err="1"/>
              <a:t>Level</a:t>
            </a:r>
            <a:r>
              <a:rPr lang="fr-FR"/>
              <a:t> 3</a:t>
            </a:r>
          </a:p>
          <a:p>
            <a:pPr lvl="4"/>
            <a:r>
              <a:rPr lang="fr-FR" err="1"/>
              <a:t>Level</a:t>
            </a:r>
            <a:r>
              <a:rPr lang="fr-FR"/>
              <a:t> 5</a:t>
            </a: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178400" y="248166"/>
            <a:ext cx="11835533" cy="517001"/>
          </a:xfrm>
          <a:prstGeom prst="rect">
            <a:avLst/>
          </a:prstGeom>
        </p:spPr>
        <p:txBody>
          <a:bodyPr anchor="ctr"/>
          <a:lstStyle/>
          <a:p>
            <a:r>
              <a:rPr lang="fr-FR"/>
              <a:t>Modifiez le style du titre</a:t>
            </a:r>
          </a:p>
        </p:txBody>
      </p:sp>
      <p:sp>
        <p:nvSpPr>
          <p:cNvPr id="7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10284664" y="6441567"/>
            <a:ext cx="1035587" cy="164148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9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11289993" y="6441567"/>
            <a:ext cx="414748" cy="164148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708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18712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6B6B6B"/>
                </a:solidFill>
              </a:defRPr>
            </a:lvl1pPr>
          </a:lstStyle>
          <a:p>
            <a:r>
              <a:rPr lang="en-US"/>
              <a:t>Click to change the title</a:t>
            </a:r>
            <a:endParaRPr lang="fr-FR"/>
          </a:p>
        </p:txBody>
      </p:sp>
      <p:sp>
        <p:nvSpPr>
          <p:cNvPr id="9" name="Espace réservé du graphique 5"/>
          <p:cNvSpPr>
            <a:spLocks noGrp="1"/>
          </p:cNvSpPr>
          <p:nvPr>
            <p:ph type="chart" sz="quarter" idx="12" hasCustomPrompt="1"/>
          </p:nvPr>
        </p:nvSpPr>
        <p:spPr>
          <a:xfrm>
            <a:off x="178400" y="1054101"/>
            <a:ext cx="11260387" cy="5156200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Graphic</a:t>
            </a:r>
            <a:endParaRPr lang="fr-FR"/>
          </a:p>
        </p:txBody>
      </p:sp>
      <p:sp>
        <p:nvSpPr>
          <p:cNvPr id="13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10284664" y="6441567"/>
            <a:ext cx="1035587" cy="164148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14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11289993" y="6441567"/>
            <a:ext cx="414748" cy="164148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7499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28661" y="444457"/>
            <a:ext cx="1134681" cy="29212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Espace réservé du graphique SmartArt 18">
            <a:extLst>
              <a:ext uri="{FF2B5EF4-FFF2-40B4-BE49-F238E27FC236}">
                <a16:creationId xmlns:a16="http://schemas.microsoft.com/office/drawing/2014/main" id="{50E609C3-EA6F-468A-8B7C-CD27949FB33C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9130" y="4999905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Espace réservé du graphique SmartArt 19">
            <a:extLst>
              <a:ext uri="{FF2B5EF4-FFF2-40B4-BE49-F238E27FC236}">
                <a16:creationId xmlns:a16="http://schemas.microsoft.com/office/drawing/2014/main" id="{F155B637-1E1E-462B-9FBB-56FD4231172C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9130" y="1548016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287A90CB-3485-4D3D-9E87-2D7382BBBC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0778" y="1926301"/>
            <a:ext cx="9230445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56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54CCF570-9115-4289-839C-7FACBC619C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778" y="3758157"/>
            <a:ext cx="9230445" cy="53795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56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889FD9C7-FB39-4714-81F8-6EA37E5B621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0778" y="4513248"/>
            <a:ext cx="9230445" cy="30838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596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73014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10284664" y="6441567"/>
            <a:ext cx="1035587" cy="164148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9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11289993" y="6441567"/>
            <a:ext cx="414748" cy="164148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50710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Graph &amp; com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49832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graphique 5"/>
          <p:cNvSpPr>
            <a:spLocks noGrp="1"/>
          </p:cNvSpPr>
          <p:nvPr>
            <p:ph type="chart" sz="quarter" idx="12" hasCustomPrompt="1"/>
          </p:nvPr>
        </p:nvSpPr>
        <p:spPr>
          <a:xfrm>
            <a:off x="178400" y="1054101"/>
            <a:ext cx="5866800" cy="5156200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Graphic</a:t>
            </a:r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6159509" y="1054100"/>
            <a:ext cx="5854433" cy="5156200"/>
          </a:xfrm>
        </p:spPr>
        <p:txBody>
          <a:bodyPr/>
          <a:lstStyle>
            <a:lvl1pPr marL="241294" indent="-241294">
              <a:defRPr/>
            </a:lvl1pPr>
            <a:lvl2pPr marL="482588" indent="-241294">
              <a:defRPr/>
            </a:lvl2pPr>
            <a:lvl3pPr marL="723882" indent="-241294">
              <a:defRPr/>
            </a:lvl3pPr>
            <a:lvl4pPr marL="952476" indent="-228594">
              <a:defRPr/>
            </a:lvl4pPr>
            <a:lvl5pPr marL="1320767" indent="-241294">
              <a:defRPr/>
            </a:lvl5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Level 1</a:t>
            </a:r>
          </a:p>
          <a:p>
            <a:pPr lvl="2"/>
            <a:r>
              <a:rPr lang="en-US"/>
              <a:t>Level 2</a:t>
            </a:r>
          </a:p>
          <a:p>
            <a:pPr lvl="3"/>
            <a:r>
              <a:rPr lang="en-US"/>
              <a:t>Level 3</a:t>
            </a:r>
          </a:p>
          <a:p>
            <a:pPr lvl="4"/>
            <a:r>
              <a:rPr lang="en-US"/>
              <a:t>Level 5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78400" y="158200"/>
            <a:ext cx="11835533" cy="517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6B6B6B"/>
                </a:solidFill>
              </a:defRPr>
            </a:lvl1pPr>
          </a:lstStyle>
          <a:p>
            <a:pPr lvl="0"/>
            <a:r>
              <a:rPr lang="en-US"/>
              <a:t>Click to change the title</a:t>
            </a:r>
          </a:p>
        </p:txBody>
      </p:sp>
      <p:sp>
        <p:nvSpPr>
          <p:cNvPr id="9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10284664" y="6441567"/>
            <a:ext cx="1035587" cy="164148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13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11289993" y="6441567"/>
            <a:ext cx="414748" cy="164148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8079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377">
              <a:defRPr/>
            </a:pPr>
            <a:fld id="{CA2D226C-31FF-4F1D-9EDD-AFD8C69927AB}" type="slidenum">
              <a:rPr lang="fr-FR" smtClean="0">
                <a:solidFill>
                  <a:srgbClr val="6B747B"/>
                </a:solidFill>
              </a:rPr>
              <a:pPr defTabSz="914377"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8670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787140" y="6052567"/>
            <a:ext cx="8040793" cy="443199"/>
          </a:xfrm>
        </p:spPr>
        <p:txBody>
          <a:bodyPr wrap="square">
            <a:spAutoFit/>
          </a:bodyPr>
          <a:lstStyle>
            <a:lvl1pPr marL="0" indent="0" algn="r">
              <a:buNone/>
              <a:defRPr sz="3200" b="0"/>
            </a:lvl1pPr>
          </a:lstStyle>
          <a:p>
            <a:pPr lvl="0"/>
            <a:r>
              <a:rPr lang="fr-FR"/>
              <a:t>Sous-titre, corps 24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174400"/>
          </a:xfrm>
        </p:spPr>
        <p:txBody>
          <a:bodyPr/>
          <a:lstStyle/>
          <a:p>
            <a:r>
              <a:rPr lang="fr-FR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87140" y="5424000"/>
            <a:ext cx="8035531" cy="590931"/>
          </a:xfrm>
        </p:spPr>
        <p:txBody>
          <a:bodyPr anchor="b"/>
          <a:lstStyle>
            <a:lvl1pPr algn="r">
              <a:defRPr sz="4267">
                <a:solidFill>
                  <a:schemeClr val="tx2"/>
                </a:solidFill>
              </a:defRPr>
            </a:lvl1pPr>
          </a:lstStyle>
          <a:p>
            <a:r>
              <a:rPr lang="fr-FR"/>
              <a:t>Titre de la présentation, corps 32</a:t>
            </a:r>
            <a:endParaRPr lang="en-US"/>
          </a:p>
        </p:txBody>
      </p:sp>
      <p:cxnSp>
        <p:nvCxnSpPr>
          <p:cNvPr id="11" name="Connecteur droit 10"/>
          <p:cNvCxnSpPr/>
          <p:nvPr/>
        </p:nvCxnSpPr>
        <p:spPr>
          <a:xfrm>
            <a:off x="3572424" y="5505577"/>
            <a:ext cx="0" cy="10032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84" y="5822955"/>
            <a:ext cx="2969683" cy="368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76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5174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3839571" y="5424000"/>
            <a:ext cx="7983100" cy="590931"/>
          </a:xfrm>
        </p:spPr>
        <p:txBody>
          <a:bodyPr anchor="b"/>
          <a:lstStyle>
            <a:lvl1pPr algn="r">
              <a:defRPr sz="4267">
                <a:solidFill>
                  <a:schemeClr val="accent2"/>
                </a:solidFill>
              </a:defRPr>
            </a:lvl1pPr>
          </a:lstStyle>
          <a:p>
            <a:r>
              <a:rPr lang="fr-FR"/>
              <a:t>Ouverture de chapitre, corps 32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8668" y="6057601"/>
            <a:ext cx="7979264" cy="365279"/>
          </a:xfrm>
        </p:spPr>
        <p:txBody>
          <a:bodyPr/>
          <a:lstStyle>
            <a:lvl1pPr marL="0" indent="0" algn="r">
              <a:buNone/>
              <a:defRPr sz="3200" b="0" baseline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Sous-titre, corps 24</a:t>
            </a:r>
            <a:endParaRPr lang="en-US"/>
          </a:p>
        </p:txBody>
      </p:sp>
      <p:cxnSp>
        <p:nvCxnSpPr>
          <p:cNvPr id="10" name="Connecteur droit 9"/>
          <p:cNvCxnSpPr/>
          <p:nvPr/>
        </p:nvCxnSpPr>
        <p:spPr>
          <a:xfrm>
            <a:off x="3572424" y="5505577"/>
            <a:ext cx="0" cy="10032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84" y="5822955"/>
            <a:ext cx="2969683" cy="368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8580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1173377" y="1365252"/>
            <a:ext cx="10130393" cy="4895849"/>
          </a:xfrm>
        </p:spPr>
        <p:txBody>
          <a:bodyPr/>
          <a:lstStyle>
            <a:lvl1pPr marL="222245" indent="-222245">
              <a:spcBef>
                <a:spcPts val="1200"/>
              </a:spcBef>
              <a:buFont typeface="Arial" charset="0"/>
              <a:buChar char="•"/>
              <a:tabLst>
                <a:tab pos="11279435" algn="r"/>
              </a:tabLst>
              <a:defRPr sz="2400" b="0" baseline="0"/>
            </a:lvl1pPr>
            <a:lvl2pPr marL="400041" indent="-177796">
              <a:spcBef>
                <a:spcPts val="0"/>
              </a:spcBef>
              <a:buFont typeface="Arial" charset="0"/>
              <a:buChar char="•"/>
              <a:tabLst>
                <a:tab pos="11279718" algn="r"/>
              </a:tabLst>
              <a:defRPr sz="2133"/>
            </a:lvl2pPr>
            <a:lvl3pPr marL="361940" indent="0">
              <a:buNone/>
              <a:defRPr/>
            </a:lvl3pPr>
          </a:lstStyle>
          <a:p>
            <a:pPr lvl="0"/>
            <a:r>
              <a:rPr lang="fr-FR"/>
              <a:t>Texte 1er niveau, corps 18	XX</a:t>
            </a:r>
          </a:p>
          <a:p>
            <a:pPr lvl="1"/>
            <a:r>
              <a:rPr lang="fr-FR"/>
              <a:t>Texte 2e niveau, corps 16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318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6" y="1777407"/>
            <a:ext cx="11226801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6" y="950401"/>
            <a:ext cx="11226801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182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78366" y="1656139"/>
            <a:ext cx="11226801" cy="460496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73400" y="1820334"/>
            <a:ext cx="5477141" cy="4166193"/>
          </a:xfrm>
        </p:spPr>
        <p:txBody>
          <a:bodyPr/>
          <a:lstStyle>
            <a:lvl1pPr>
              <a:defRPr baseline="0"/>
            </a:lvl1pPr>
            <a:lvl2pPr marL="361942" indent="-182029">
              <a:tabLst/>
              <a:defRPr/>
            </a:lvl2pPr>
            <a:lvl3pPr marL="514338" indent="-17568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4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6" y="1777407"/>
            <a:ext cx="5252604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6096001" y="1316568"/>
            <a:ext cx="5609167" cy="494453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8640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+ 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6" y="1777407"/>
            <a:ext cx="5252604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6096001" y="1316567"/>
            <a:ext cx="5609167" cy="442706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Rectangle 9"/>
          <p:cNvSpPr/>
          <p:nvPr/>
        </p:nvSpPr>
        <p:spPr>
          <a:xfrm>
            <a:off x="6095999" y="5740040"/>
            <a:ext cx="5609167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6265138" y="5895707"/>
            <a:ext cx="5262229" cy="194733"/>
          </a:xfrm>
        </p:spPr>
        <p:txBody>
          <a:bodyPr/>
          <a:lstStyle>
            <a:lvl1pPr marL="0" indent="0" algn="r">
              <a:buNone/>
              <a:defRPr sz="1867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2532970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with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7886700" y="6046106"/>
            <a:ext cx="2743200" cy="366183"/>
          </a:xfrm>
        </p:spPr>
        <p:txBody>
          <a:bodyPr/>
          <a:lstStyle/>
          <a:p>
            <a:endParaRPr lang="fr-FR"/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0961" y="516248"/>
            <a:ext cx="1134681" cy="29212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4F60E46E-0715-41F6-BEAC-C9C998D41D44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9190079" y="1763753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22" name="Espace réservé du graphique SmartArt 11">
            <a:extLst>
              <a:ext uri="{FF2B5EF4-FFF2-40B4-BE49-F238E27FC236}">
                <a16:creationId xmlns:a16="http://schemas.microsoft.com/office/drawing/2014/main" id="{2835F6F0-E601-40E8-8F65-7949A8AA2AF1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9190079" y="5169752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374847" cy="68580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CA236998-34E3-4BB4-B42A-72EE346C3C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83430" y="1926301"/>
            <a:ext cx="4949741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40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14179443-CD99-4560-A70A-CF3E60CA5C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83430" y="3758157"/>
            <a:ext cx="4949741" cy="53795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633150E7-212E-42D8-857F-00B727BB0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83430" y="4320498"/>
            <a:ext cx="4949741" cy="77066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188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78366" y="1653117"/>
            <a:ext cx="11226801" cy="414231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0" name="Rectangle 9"/>
          <p:cNvSpPr/>
          <p:nvPr/>
        </p:nvSpPr>
        <p:spPr>
          <a:xfrm>
            <a:off x="478367" y="5740692"/>
            <a:ext cx="11226800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627219" y="5894400"/>
            <a:ext cx="10900149" cy="194733"/>
          </a:xfrm>
        </p:spPr>
        <p:txBody>
          <a:bodyPr/>
          <a:lstStyle>
            <a:lvl1pPr marL="0" indent="0" algn="r">
              <a:buNone/>
              <a:defRPr sz="1867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115107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8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78366" y="1653118"/>
            <a:ext cx="11226801" cy="4607983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70519" y="1819200"/>
            <a:ext cx="5213237" cy="455155"/>
          </a:xfrm>
        </p:spPr>
        <p:txBody>
          <a:bodyPr/>
          <a:lstStyle>
            <a:lvl1pPr>
              <a:defRPr baseline="0"/>
            </a:lvl1pPr>
            <a:lvl2pPr marL="361942" indent="-182029">
              <a:tabLst/>
              <a:defRPr/>
            </a:lvl2pPr>
            <a:lvl3pPr marL="514338" indent="-17568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20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670519" y="2279651"/>
            <a:ext cx="10759653" cy="3837492"/>
          </a:xfrm>
        </p:spPr>
        <p:txBody>
          <a:bodyPr/>
          <a:lstStyle/>
          <a:p>
            <a:r>
              <a:rPr lang="en-US"/>
              <a:t>Click icon to add chart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670519" y="5899530"/>
            <a:ext cx="3579283" cy="224660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Source du graphique</a:t>
            </a:r>
          </a:p>
        </p:txBody>
      </p:sp>
    </p:spTree>
    <p:extLst>
      <p:ext uri="{BB962C8B-B14F-4D97-AF65-F5344CB8AC3E}">
        <p14:creationId xmlns:p14="http://schemas.microsoft.com/office/powerpoint/2010/main" val="2757743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1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1" y="950401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478366" y="1653117"/>
            <a:ext cx="11226801" cy="4428067"/>
          </a:xfrm>
          <a:noFill/>
          <a:ln>
            <a:noFill/>
          </a:ln>
        </p:spPr>
        <p:txBody>
          <a:bodyPr/>
          <a:lstStyle/>
          <a:p>
            <a:r>
              <a:rPr lang="en-US"/>
              <a:t>Click icon to add tab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25972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6" y="950401"/>
            <a:ext cx="11226801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478366" y="2114856"/>
            <a:ext cx="5617633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Cor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 et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voloreratem</a:t>
            </a:r>
            <a:endParaRPr lang="fr-FR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8366" y="2455290"/>
            <a:ext cx="5617633" cy="1456676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78366" y="3369144"/>
            <a:ext cx="5617633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evelique</a:t>
            </a:r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nonecto</a:t>
            </a:r>
            <a:endParaRPr lang="fr-FR"/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6091949" y="2104443"/>
            <a:ext cx="5617633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6091949" y="3035840"/>
            <a:ext cx="5617633" cy="1051553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 mo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mint</a:t>
            </a:r>
            <a:endParaRPr lang="fr-FR" sz="2667" b="0" i="0" u="none" strike="noStrike" baseline="0">
              <a:solidFill>
                <a:srgbClr val="FFFFFF"/>
              </a:solidFill>
              <a:latin typeface=""/>
            </a:endParaRPr>
          </a:p>
          <a:p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Lo icaborporae ra</a:t>
            </a:r>
            <a:endParaRPr lang="fr-FR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478368" y="4306019"/>
            <a:ext cx="5626403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478368" y="5237416"/>
            <a:ext cx="5626403" cy="1023685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 mo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mint</a:t>
            </a:r>
            <a:endParaRPr lang="fr-FR" sz="2667" b="0" i="0" u="none" strike="noStrike" baseline="0">
              <a:solidFill>
                <a:srgbClr val="FFFFFF"/>
              </a:solidFill>
              <a:latin typeface=""/>
            </a:endParaRPr>
          </a:p>
          <a:p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Lo icaborporae ra</a:t>
            </a:r>
            <a:endParaRPr lang="fr-FR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6096001" y="4526944"/>
            <a:ext cx="5604809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Cor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 et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voloreratem</a:t>
            </a:r>
            <a:endParaRPr lang="fr-FR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6096001" y="4867379"/>
            <a:ext cx="5604809" cy="1393723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517517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iffres clés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859018"/>
            <a:ext cx="12192000" cy="2260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Slide </a:t>
            </a:r>
            <a:r>
              <a:rPr lang="en-US" noProof="0" err="1"/>
              <a:t>texte</a:t>
            </a:r>
            <a:r>
              <a:rPr lang="en-US" noProof="0"/>
              <a:t> - 1 </a:t>
            </a:r>
            <a:r>
              <a:rPr lang="en-US" noProof="0" err="1"/>
              <a:t>colonne</a:t>
            </a:r>
            <a:r>
              <a:rPr lang="en-US" noProof="0"/>
              <a:t>, corps 28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478366" y="1316369"/>
            <a:ext cx="5617633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Cor</a:t>
            </a:r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aut</a:t>
            </a:r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 et </a:t>
            </a:r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voloreratem</a:t>
            </a:r>
            <a:endParaRPr lang="en-US" noProof="0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8366" y="1656803"/>
            <a:ext cx="5617633" cy="1456676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78366" y="2570657"/>
            <a:ext cx="5617633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evelique</a:t>
            </a:r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nonecto</a:t>
            </a:r>
            <a:endParaRPr lang="en-US" noProof="0"/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6091949" y="1305957"/>
            <a:ext cx="5617633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6091949" y="2237353"/>
            <a:ext cx="5617633" cy="1051553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mo</a:t>
            </a:r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 mint</a:t>
            </a:r>
          </a:p>
          <a:p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Lo </a:t>
            </a:r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ra</a:t>
            </a:r>
            <a:endParaRPr lang="en-US" noProof="0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478368" y="3938717"/>
            <a:ext cx="5626403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478368" y="4870114"/>
            <a:ext cx="5626403" cy="1023685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mo</a:t>
            </a:r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 mint</a:t>
            </a:r>
          </a:p>
          <a:p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Lo </a:t>
            </a:r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ra</a:t>
            </a:r>
            <a:endParaRPr lang="en-US" noProof="0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6096001" y="4159641"/>
            <a:ext cx="5604809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Cor</a:t>
            </a:r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 </a:t>
            </a:r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aut</a:t>
            </a:r>
            <a:r>
              <a:rPr lang="en-US" sz="2667" b="0" i="0" u="none" strike="noStrike" baseline="0" noProof="0">
                <a:solidFill>
                  <a:srgbClr val="FFFFFF"/>
                </a:solidFill>
                <a:latin typeface=""/>
              </a:rPr>
              <a:t> et </a:t>
            </a:r>
            <a:r>
              <a:rPr lang="en-US" sz="2667" b="0" i="0" u="none" strike="noStrike" baseline="0" noProof="0" err="1">
                <a:solidFill>
                  <a:srgbClr val="FFFFFF"/>
                </a:solidFill>
                <a:latin typeface=""/>
              </a:rPr>
              <a:t>voloreratem</a:t>
            </a:r>
            <a:endParaRPr lang="en-US" noProof="0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6096001" y="4500076"/>
            <a:ext cx="5604809" cy="1393723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490619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  <p15:guide id="3" orient="horz" pos="1699">
          <p15:clr>
            <a:srgbClr val="FBAE40"/>
          </p15:clr>
        </p15:guide>
        <p15:guide id="4" orient="horz" pos="42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12192000" cy="53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baseline="3000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1997536"/>
            <a:ext cx="12192000" cy="1366528"/>
          </a:xfrm>
        </p:spPr>
        <p:txBody>
          <a:bodyPr anchor="b"/>
          <a:lstStyle>
            <a:lvl1pPr algn="ctr">
              <a:defRPr sz="9866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erci</a:t>
            </a:r>
            <a:endParaRPr lang="en-US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584" y="5874257"/>
            <a:ext cx="3968749" cy="4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5071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1F2FA-5155-4926-9D9E-4FFEC63F32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EC5837-D935-4179-BD76-B935FFB7C9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76FA8F-A0BC-4DA2-9A5C-78F57D40F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AEC608-2B5E-4213-93A6-3FB99CE8C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AT-US-2204959-v1.0-07/202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177AB0-8575-4758-B78F-FB6053F17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9349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1289993" y="6441568"/>
            <a:ext cx="414748" cy="32842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B747B"/>
                </a:solidFill>
              </a:rPr>
              <a:t>|</a:t>
            </a:r>
            <a:r>
              <a:rPr lang="en-US" sz="1200" baseline="16000">
                <a:solidFill>
                  <a:srgbClr val="6B747B"/>
                </a:solidFill>
              </a:rPr>
              <a:t>        </a:t>
            </a:r>
            <a:fld id="{DD41D34A-F954-4E5F-8B71-60EC486BA540}" type="slidenum">
              <a:rPr lang="en-US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2835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e strategy and to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7CBE107-3957-4D2C-A2C4-82EFD7F1394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8367" y="781717"/>
            <a:ext cx="11235267" cy="480000"/>
          </a:xfrm>
          <a:solidFill>
            <a:schemeClr val="tx2"/>
          </a:solidFill>
        </p:spPr>
        <p:txBody>
          <a:bodyPr lIns="108000" anchor="ctr" anchorCtr="0"/>
          <a:lstStyle>
            <a:lvl1pPr marL="0" indent="0">
              <a:buNone/>
              <a:defRPr sz="1867" b="0" baseline="0">
                <a:solidFill>
                  <a:schemeClr val="bg1"/>
                </a:solidFill>
              </a:defRPr>
            </a:lvl1pPr>
            <a:lvl2pPr marL="266680" indent="0">
              <a:buNone/>
              <a:defRPr/>
            </a:lvl2pPr>
            <a:lvl3pPr marL="685750" indent="0">
              <a:buNone/>
              <a:defRPr/>
            </a:lvl3pPr>
            <a:lvl4pPr marL="1028624" indent="0">
              <a:buNone/>
              <a:defRPr/>
            </a:lvl4pPr>
            <a:lvl5pPr marL="1371498" indent="0">
              <a:buNone/>
              <a:defRPr/>
            </a:lvl5pPr>
          </a:lstStyle>
          <a:p>
            <a:pPr lvl="0"/>
            <a:r>
              <a:rPr lang="fr-FR"/>
              <a:t>Insert key message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E1FD64-E21D-42FE-9DF0-B5348E75FA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67" y="386702"/>
            <a:ext cx="11235267" cy="348813"/>
          </a:xfrm>
        </p:spPr>
        <p:txBody>
          <a:bodyPr/>
          <a:lstStyle>
            <a:lvl1pPr>
              <a:lnSpc>
                <a:spcPct val="85000"/>
              </a:lnSpc>
              <a:defRPr sz="2667" b="1">
                <a:solidFill>
                  <a:schemeClr val="tx2"/>
                </a:solidFill>
              </a:defRPr>
            </a:lvl1pPr>
          </a:lstStyle>
          <a:p>
            <a:r>
              <a:rPr lang="fr-FR"/>
              <a:t>Slide title</a:t>
            </a:r>
            <a:endParaRPr lang="en-US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2811817" y="6412955"/>
            <a:ext cx="7708403" cy="246221"/>
          </a:xfrm>
        </p:spPr>
        <p:txBody>
          <a:bodyPr anchor="ctr"/>
          <a:lstStyle>
            <a:lvl1pPr>
              <a:defRPr sz="800"/>
            </a:lvl1pPr>
          </a:lstStyle>
          <a:p>
            <a:r>
              <a:rPr lang="fr-FR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11289994" y="6474511"/>
            <a:ext cx="414748" cy="123111"/>
          </a:xfrm>
        </p:spPr>
        <p:txBody>
          <a:bodyPr/>
          <a:lstStyle>
            <a:lvl1pPr>
              <a:defRPr sz="800"/>
            </a:lvl1pPr>
          </a:lstStyle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cxnSp>
        <p:nvCxnSpPr>
          <p:cNvPr id="9" name="Connecteur droit 7">
            <a:extLst>
              <a:ext uri="{FF2B5EF4-FFF2-40B4-BE49-F238E27FC236}">
                <a16:creationId xmlns:a16="http://schemas.microsoft.com/office/drawing/2014/main" id="{C03A18C1-EAD2-4F4C-81F1-67E9B4437CBD}"/>
              </a:ext>
            </a:extLst>
          </p:cNvPr>
          <p:cNvCxnSpPr/>
          <p:nvPr userDrawn="1"/>
        </p:nvCxnSpPr>
        <p:spPr>
          <a:xfrm>
            <a:off x="478367" y="781717"/>
            <a:ext cx="112268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2642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787142" y="6052569"/>
            <a:ext cx="8040793" cy="443199"/>
          </a:xfrm>
        </p:spPr>
        <p:txBody>
          <a:bodyPr wrap="square">
            <a:spAutoFit/>
          </a:bodyPr>
          <a:lstStyle>
            <a:lvl1pPr marL="0" indent="0" algn="r">
              <a:buNone/>
              <a:defRPr sz="3200" b="0"/>
            </a:lvl1pPr>
          </a:lstStyle>
          <a:p>
            <a:pPr lvl="0"/>
            <a:r>
              <a:rPr lang="fr-FR"/>
              <a:t>Sous-titre, corps 24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174400"/>
          </a:xfrm>
        </p:spPr>
        <p:txBody>
          <a:bodyPr/>
          <a:lstStyle/>
          <a:p>
            <a:r>
              <a:rPr lang="fr-FR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87140" y="5424000"/>
            <a:ext cx="8035531" cy="590931"/>
          </a:xfrm>
        </p:spPr>
        <p:txBody>
          <a:bodyPr anchor="b"/>
          <a:lstStyle>
            <a:lvl1pPr algn="r">
              <a:defRPr sz="4267">
                <a:solidFill>
                  <a:schemeClr val="tx2"/>
                </a:solidFill>
              </a:defRPr>
            </a:lvl1pPr>
          </a:lstStyle>
          <a:p>
            <a:r>
              <a:rPr lang="fr-FR"/>
              <a:t>Titre de la présentation, corps 32</a:t>
            </a:r>
            <a:endParaRPr lang="en-US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3572424" y="5505577"/>
            <a:ext cx="0" cy="10032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84" y="5822957"/>
            <a:ext cx="2969683" cy="36844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4344239" y="2813447"/>
            <a:ext cx="3503523" cy="1231106"/>
          </a:xfrm>
          <a:prstGeom prst="rect">
            <a:avLst/>
          </a:prstGeom>
          <a:noFill/>
        </p:spPr>
        <p:txBody>
          <a:bodyPr wrap="none" lIns="121920" tIns="60960" rIns="121920" bIns="60960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en-US" sz="7200" b="1" spc="20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066790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with Image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7886700" y="6046106"/>
            <a:ext cx="2743200" cy="36618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0961" y="516248"/>
            <a:ext cx="1134681" cy="29212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374847" cy="68580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540F3744-EAB0-48D1-B7AE-720C8628C071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9190079" y="1763753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graphique SmartArt 11">
            <a:extLst>
              <a:ext uri="{FF2B5EF4-FFF2-40B4-BE49-F238E27FC236}">
                <a16:creationId xmlns:a16="http://schemas.microsoft.com/office/drawing/2014/main" id="{E04644FF-725F-4770-81BC-F016774228AE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9190079" y="5169752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08D4AEF-2960-4B86-98AA-A0ABA6675B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83430" y="1926301"/>
            <a:ext cx="4949741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40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C4763866-3F61-4A13-9CE8-9A542B41F4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83430" y="3758157"/>
            <a:ext cx="4949741" cy="53795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A2D6EFB-94B5-487C-A9CF-03E9B187D6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83430" y="4320498"/>
            <a:ext cx="4949741" cy="77066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5434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5174400"/>
          </a:xfrm>
        </p:spPr>
        <p:txBody>
          <a:bodyPr/>
          <a:lstStyle/>
          <a:p>
            <a:endParaRPr lang="fr-FR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3839574" y="5424000"/>
            <a:ext cx="7983100" cy="590931"/>
          </a:xfrm>
        </p:spPr>
        <p:txBody>
          <a:bodyPr anchor="b"/>
          <a:lstStyle>
            <a:lvl1pPr algn="r">
              <a:defRPr sz="4267">
                <a:solidFill>
                  <a:schemeClr val="accent2"/>
                </a:solidFill>
              </a:defRPr>
            </a:lvl1pPr>
          </a:lstStyle>
          <a:p>
            <a:r>
              <a:rPr lang="fr-FR"/>
              <a:t>Ouverture de chapitre, corps 32</a:t>
            </a:r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8668" y="6057602"/>
            <a:ext cx="7979264" cy="365279"/>
          </a:xfrm>
        </p:spPr>
        <p:txBody>
          <a:bodyPr/>
          <a:lstStyle>
            <a:lvl1pPr marL="0" indent="0" algn="r">
              <a:buNone/>
              <a:defRPr sz="3200" b="0" baseline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Sous-titre, corps 24</a:t>
            </a:r>
            <a:endParaRPr lang="en-US"/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3572424" y="5505577"/>
            <a:ext cx="0" cy="10032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84" y="5822957"/>
            <a:ext cx="2969683" cy="368447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344239" y="2813447"/>
            <a:ext cx="3503523" cy="1231106"/>
          </a:xfrm>
          <a:prstGeom prst="rect">
            <a:avLst/>
          </a:prstGeom>
          <a:noFill/>
        </p:spPr>
        <p:txBody>
          <a:bodyPr wrap="none" lIns="121920" tIns="60960" rIns="121920" bIns="60960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en-US" sz="7200" b="1" spc="20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8546275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1173380" y="1365253"/>
            <a:ext cx="10130393" cy="4895849"/>
          </a:xfrm>
        </p:spPr>
        <p:txBody>
          <a:bodyPr/>
          <a:lstStyle>
            <a:lvl1pPr marL="222245" indent="-222245">
              <a:spcBef>
                <a:spcPts val="1200"/>
              </a:spcBef>
              <a:buFont typeface="Arial" charset="0"/>
              <a:buChar char="•"/>
              <a:tabLst>
                <a:tab pos="11279435" algn="r"/>
              </a:tabLst>
              <a:defRPr sz="2400" b="0" baseline="0"/>
            </a:lvl1pPr>
            <a:lvl2pPr marL="400041" indent="-177796">
              <a:spcBef>
                <a:spcPts val="0"/>
              </a:spcBef>
              <a:buFont typeface="Arial" charset="0"/>
              <a:buChar char="•"/>
              <a:tabLst>
                <a:tab pos="11279718" algn="r"/>
              </a:tabLst>
              <a:defRPr sz="2133"/>
            </a:lvl2pPr>
            <a:lvl3pPr marL="361940" indent="0">
              <a:buNone/>
              <a:defRPr/>
            </a:lvl3pPr>
          </a:lstStyle>
          <a:p>
            <a:pPr lvl="0"/>
            <a:r>
              <a:rPr lang="fr-FR"/>
              <a:t>Texte 1er niveau, corps 18	XX</a:t>
            </a:r>
          </a:p>
          <a:p>
            <a:pPr lvl="1"/>
            <a:r>
              <a:rPr lang="fr-FR"/>
              <a:t>Texte 2e niveau, corps 16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3048000" y="6477001"/>
            <a:ext cx="7315200" cy="164212"/>
          </a:xfrm>
        </p:spPr>
        <p:txBody>
          <a:bodyPr/>
          <a:lstStyle/>
          <a:p>
            <a:pPr algn="l"/>
            <a:r>
              <a:rPr lang="fr-FR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8265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9" y="1777407"/>
            <a:ext cx="11226801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9" y="950402"/>
            <a:ext cx="11226801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831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78369" y="1656141"/>
            <a:ext cx="11226801" cy="460496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fr-FR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3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73400" y="1820335"/>
            <a:ext cx="5477141" cy="4166193"/>
          </a:xfrm>
        </p:spPr>
        <p:txBody>
          <a:bodyPr/>
          <a:lstStyle>
            <a:lvl1pPr>
              <a:defRPr baseline="0"/>
            </a:lvl1pPr>
            <a:lvl2pPr marL="361942" indent="-182029">
              <a:tabLst/>
              <a:defRPr/>
            </a:lvl2pPr>
            <a:lvl3pPr marL="514338" indent="-17568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3" y="950402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107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3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9" y="1777407"/>
            <a:ext cx="5252604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3" y="950402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6096003" y="1316568"/>
            <a:ext cx="5609167" cy="4944533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1285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3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9" y="1777407"/>
            <a:ext cx="5252604" cy="4483693"/>
          </a:xfrm>
        </p:spPr>
        <p:txBody>
          <a:bodyPr/>
          <a:lstStyle>
            <a:lvl1pPr>
              <a:defRPr baseline="0"/>
            </a:lvl1pPr>
            <a:lvl3pPr marL="537620" indent="-17779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18</a:t>
            </a:r>
          </a:p>
          <a:p>
            <a:pPr lvl="1"/>
            <a:r>
              <a:rPr lang="fr-FR"/>
              <a:t>Texte 2e niveau, corps 16</a:t>
            </a:r>
          </a:p>
          <a:p>
            <a:pPr lvl="2"/>
            <a:r>
              <a:rPr lang="fr-FR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3" y="950402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6096003" y="1316567"/>
            <a:ext cx="5609167" cy="4427064"/>
          </a:xfrm>
        </p:spPr>
        <p:txBody>
          <a:bodyPr/>
          <a:lstStyle/>
          <a:p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6096002" y="5740040"/>
            <a:ext cx="5609167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fr-FR" sz="180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6265138" y="5895707"/>
            <a:ext cx="5262229" cy="194733"/>
          </a:xfrm>
        </p:spPr>
        <p:txBody>
          <a:bodyPr/>
          <a:lstStyle>
            <a:lvl1pPr marL="0" indent="0" algn="r">
              <a:buNone/>
              <a:defRPr sz="1867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528801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3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photo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3" y="950402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78369" y="1653118"/>
            <a:ext cx="11226801" cy="4142315"/>
          </a:xfrm>
        </p:spPr>
        <p:txBody>
          <a:bodyPr/>
          <a:lstStyle/>
          <a:p>
            <a:endParaRPr lang="fr-FR"/>
          </a:p>
        </p:txBody>
      </p:sp>
      <p:sp>
        <p:nvSpPr>
          <p:cNvPr id="10" name="Rectangle 9"/>
          <p:cNvSpPr/>
          <p:nvPr userDrawn="1"/>
        </p:nvSpPr>
        <p:spPr>
          <a:xfrm>
            <a:off x="478367" y="5740693"/>
            <a:ext cx="11226800" cy="520409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fr-FR" sz="180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627219" y="5894400"/>
            <a:ext cx="10900149" cy="194733"/>
          </a:xfrm>
        </p:spPr>
        <p:txBody>
          <a:bodyPr/>
          <a:lstStyle>
            <a:lvl1pPr marL="0" indent="0" algn="r">
              <a:buNone/>
              <a:defRPr sz="1867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502978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78369" y="1653118"/>
            <a:ext cx="11226801" cy="4607983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fr-FR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3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70519" y="1819200"/>
            <a:ext cx="5213237" cy="455155"/>
          </a:xfrm>
        </p:spPr>
        <p:txBody>
          <a:bodyPr/>
          <a:lstStyle>
            <a:lvl1pPr>
              <a:defRPr baseline="0"/>
            </a:lvl1pPr>
            <a:lvl2pPr marL="361942" indent="-182029">
              <a:tabLst/>
              <a:defRPr/>
            </a:lvl2pPr>
            <a:lvl3pPr marL="514338" indent="-17568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/>
              <a:t>Texte 1er niveau, corps 20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3" y="950402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670519" y="2279651"/>
            <a:ext cx="10759653" cy="3837492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670519" y="5899531"/>
            <a:ext cx="3579283" cy="224660"/>
          </a:xfrm>
        </p:spPr>
        <p:txBody>
          <a:bodyPr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Source du graphique</a:t>
            </a:r>
          </a:p>
        </p:txBody>
      </p:sp>
    </p:spTree>
    <p:extLst>
      <p:ext uri="{BB962C8B-B14F-4D97-AF65-F5344CB8AC3E}">
        <p14:creationId xmlns:p14="http://schemas.microsoft.com/office/powerpoint/2010/main" val="929256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3" y="364800"/>
            <a:ext cx="11225167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onclusion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3" y="950402"/>
            <a:ext cx="11225167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478369" y="1653117"/>
            <a:ext cx="11226801" cy="4428067"/>
          </a:xfrm>
          <a:noFill/>
          <a:ln>
            <a:noFill/>
          </a:ln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572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Slide texte - 1 colonne, corps 28</a:t>
            </a:r>
            <a:endParaRPr lang="en-US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fr-FR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9" y="950402"/>
            <a:ext cx="11226801" cy="465508"/>
          </a:xfrm>
        </p:spPr>
        <p:txBody>
          <a:bodyPr/>
          <a:lstStyle>
            <a:lvl1pPr marL="0" indent="0">
              <a:buNone/>
              <a:defRPr sz="2933" b="0" baseline="0">
                <a:solidFill>
                  <a:schemeClr val="tx1"/>
                </a:solidFill>
              </a:defRPr>
            </a:lvl1pPr>
            <a:lvl2pPr marL="355591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fr-FR"/>
              <a:t>Sous-titre, corps 22</a:t>
            </a:r>
            <a:endParaRPr lang="en-US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478369" y="2114857"/>
            <a:ext cx="5617633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Cor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 et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voloreratem</a:t>
            </a:r>
            <a:endParaRPr lang="fr-FR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8369" y="2455291"/>
            <a:ext cx="5617633" cy="1456676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78369" y="3369145"/>
            <a:ext cx="5617633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evelique</a:t>
            </a:r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nonecto</a:t>
            </a:r>
            <a:endParaRPr lang="fr-FR"/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6091952" y="2104445"/>
            <a:ext cx="5617633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6091952" y="3035840"/>
            <a:ext cx="5617633" cy="1051553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 mo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mint</a:t>
            </a:r>
            <a:endParaRPr lang="fr-FR" sz="2667" b="0" i="0" u="none" strike="noStrike" baseline="0">
              <a:solidFill>
                <a:srgbClr val="FFFFFF"/>
              </a:solidFill>
              <a:latin typeface=""/>
            </a:endParaRPr>
          </a:p>
          <a:p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Lo icaborporae ra</a:t>
            </a:r>
            <a:endParaRPr lang="fr-FR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478368" y="4306019"/>
            <a:ext cx="5626403" cy="1000572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478368" y="5237416"/>
            <a:ext cx="5626403" cy="1023685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 mo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mint</a:t>
            </a:r>
            <a:endParaRPr lang="fr-FR" sz="2667" b="0" i="0" u="none" strike="noStrike" baseline="0">
              <a:solidFill>
                <a:srgbClr val="FFFFFF"/>
              </a:solidFill>
              <a:latin typeface=""/>
            </a:endParaRPr>
          </a:p>
          <a:p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Lo icaborporae ra</a:t>
            </a:r>
            <a:endParaRPr lang="fr-FR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6096004" y="4526945"/>
            <a:ext cx="5604809" cy="455113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667" b="0" i="0" u="none" strike="noStrike" baseline="0" smtClean="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Cor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667" b="0" i="0" u="none" strike="noStrike" baseline="0">
                <a:solidFill>
                  <a:srgbClr val="FFFFFF"/>
                </a:solidFill>
                <a:latin typeface=""/>
              </a:rPr>
              <a:t> et </a:t>
            </a:r>
            <a:r>
              <a:rPr lang="fr-FR" sz="2667" b="0" i="0" u="none" strike="noStrike" baseline="0" err="1">
                <a:solidFill>
                  <a:srgbClr val="FFFFFF"/>
                </a:solidFill>
                <a:latin typeface=""/>
              </a:rPr>
              <a:t>voloreratem</a:t>
            </a:r>
            <a:endParaRPr lang="fr-FR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6096004" y="4867379"/>
            <a:ext cx="5604809" cy="1393723"/>
          </a:xfrm>
        </p:spPr>
        <p:txBody>
          <a:bodyPr/>
          <a:lstStyle>
            <a:lvl1pPr marL="0" indent="0" algn="ctr">
              <a:buFont typeface="Arial" charset="0"/>
              <a:buNone/>
              <a:defRPr sz="8000">
                <a:solidFill>
                  <a:schemeClr val="bg1"/>
                </a:solidFill>
              </a:defRPr>
            </a:lvl1pPr>
            <a:lvl2pPr marL="179913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36194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828754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375483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with Visual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AE9FBA9E-4B66-4D19-A4F1-FA106CF943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3703" y="710399"/>
            <a:ext cx="6342328" cy="551059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27273C0-D926-4FC2-8437-9B297AC1E951}"/>
              </a:ext>
            </a:extLst>
          </p:cNvPr>
          <p:cNvCxnSpPr>
            <a:cxnSpLocks/>
          </p:cNvCxnSpPr>
          <p:nvPr userDrawn="1"/>
        </p:nvCxnSpPr>
        <p:spPr>
          <a:xfrm>
            <a:off x="1070063" y="1864891"/>
            <a:ext cx="0" cy="43561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0F580B26-21D6-4630-AE3D-FB359C1C883E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035052" y="2095106"/>
            <a:ext cx="70019" cy="6951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208746F7-3CD2-431F-B427-E3AA9BF36F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fr-FR"/>
              <a:t>MAT-US-2204959-v1.0-07/2022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76DFA8B-7FBD-4F98-B6B6-233EDD231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3DFCED8-0EB4-4E57-BDC7-7349EFC7B9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031" y="1960151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C565C352-3015-43B5-A637-271B7D2E32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2031" y="2753672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0" name="Espace réservé du texte 17">
            <a:extLst>
              <a:ext uri="{FF2B5EF4-FFF2-40B4-BE49-F238E27FC236}">
                <a16:creationId xmlns:a16="http://schemas.microsoft.com/office/drawing/2014/main" id="{15EE83C4-9859-4D9B-B740-E8C01E8B93D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031" y="3541323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74DFA65F-CF7B-4ED8-8B06-C50BE51634C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031" y="4334844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5" name="Espace réservé du texte 17">
            <a:extLst>
              <a:ext uri="{FF2B5EF4-FFF2-40B4-BE49-F238E27FC236}">
                <a16:creationId xmlns:a16="http://schemas.microsoft.com/office/drawing/2014/main" id="{DBF18F57-A4B6-4E01-8E41-3610197C40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031" y="5128365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41" name="Espace réservé du texte 17">
            <a:extLst>
              <a:ext uri="{FF2B5EF4-FFF2-40B4-BE49-F238E27FC236}">
                <a16:creationId xmlns:a16="http://schemas.microsoft.com/office/drawing/2014/main" id="{8AFC591C-8E4C-4797-84E6-9ACB86CA696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1335449" y="231140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0" name="Espace réservé du texte 17">
            <a:extLst>
              <a:ext uri="{FF2B5EF4-FFF2-40B4-BE49-F238E27FC236}">
                <a16:creationId xmlns:a16="http://schemas.microsoft.com/office/drawing/2014/main" id="{591A3E6F-3476-47ED-8C55-9EBB33F42A52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1334265" y="195799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5" name="Espace réservé du texte 17">
            <a:extLst>
              <a:ext uri="{FF2B5EF4-FFF2-40B4-BE49-F238E27FC236}">
                <a16:creationId xmlns:a16="http://schemas.microsoft.com/office/drawing/2014/main" id="{BD354000-934E-43A7-902B-EB0E6D553454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1335449" y="311106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6" name="Espace réservé du texte 17">
            <a:extLst>
              <a:ext uri="{FF2B5EF4-FFF2-40B4-BE49-F238E27FC236}">
                <a16:creationId xmlns:a16="http://schemas.microsoft.com/office/drawing/2014/main" id="{674EDB5F-2360-4BDB-B4A4-F38BB2AA2521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1334265" y="2757656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7" name="Espace réservé du texte 17">
            <a:extLst>
              <a:ext uri="{FF2B5EF4-FFF2-40B4-BE49-F238E27FC236}">
                <a16:creationId xmlns:a16="http://schemas.microsoft.com/office/drawing/2014/main" id="{6764734A-FBDE-4D25-92A5-672B3F6077B1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1335449" y="389473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8" name="Espace réservé du texte 17">
            <a:extLst>
              <a:ext uri="{FF2B5EF4-FFF2-40B4-BE49-F238E27FC236}">
                <a16:creationId xmlns:a16="http://schemas.microsoft.com/office/drawing/2014/main" id="{6227F425-D7E4-4B90-9761-EBF3BCC4260C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1334265" y="3541327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9" name="Espace réservé du texte 17">
            <a:extLst>
              <a:ext uri="{FF2B5EF4-FFF2-40B4-BE49-F238E27FC236}">
                <a16:creationId xmlns:a16="http://schemas.microsoft.com/office/drawing/2014/main" id="{7A462145-8066-42E6-AEC7-B7FFB4004F0C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1335449" y="4686405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0" name="Espace réservé du texte 17">
            <a:extLst>
              <a:ext uri="{FF2B5EF4-FFF2-40B4-BE49-F238E27FC236}">
                <a16:creationId xmlns:a16="http://schemas.microsoft.com/office/drawing/2014/main" id="{BDFC2A5C-1456-4E38-B7B8-53173C4D7226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1334265" y="4332995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1" name="Espace réservé du texte 17">
            <a:extLst>
              <a:ext uri="{FF2B5EF4-FFF2-40B4-BE49-F238E27FC236}">
                <a16:creationId xmlns:a16="http://schemas.microsoft.com/office/drawing/2014/main" id="{6F16C3B8-AA5D-4F33-B410-8B2C3BE2F2C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1335449" y="548576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2" name="Espace réservé du texte 17">
            <a:extLst>
              <a:ext uri="{FF2B5EF4-FFF2-40B4-BE49-F238E27FC236}">
                <a16:creationId xmlns:a16="http://schemas.microsoft.com/office/drawing/2014/main" id="{8C14FA2C-33DC-431E-9580-8F16A359800B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1334265" y="513235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77699B-FF9F-427C-87A3-B361DFAB5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4731723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162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53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</a:pPr>
            <a:endParaRPr lang="fr-FR" sz="1800" baseline="3000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1997536"/>
            <a:ext cx="12192000" cy="1366528"/>
          </a:xfrm>
        </p:spPr>
        <p:txBody>
          <a:bodyPr anchor="b"/>
          <a:lstStyle>
            <a:lvl1pPr algn="ctr">
              <a:defRPr sz="9866" cap="all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erci</a:t>
            </a:r>
            <a:endParaRPr lang="en-US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584" y="5874259"/>
            <a:ext cx="3968749" cy="4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9298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82EC9B0-08AF-4FBD-8D4F-B1969F54B45F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051133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5569CE8B-04AF-468F-B800-7ECF09FD6C9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15443" y="2970600"/>
            <a:ext cx="3561116" cy="916800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A862ADC4-857D-4471-A871-BD1A38FB23C1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3473CDDD-9034-4972-B890-4C267C13F06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FA4CC508-0E53-4122-BCBD-4E37F1B71C30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4107808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que 7">
            <a:extLst>
              <a:ext uri="{FF2B5EF4-FFF2-40B4-BE49-F238E27FC236}">
                <a16:creationId xmlns:a16="http://schemas.microsoft.com/office/drawing/2014/main" id="{AAE34BD0-96F3-484E-823D-846BCF7077C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315443" y="2970600"/>
            <a:ext cx="3561116" cy="91680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5ACEFF7-2172-4E31-95A5-2822B762DCC8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156C511D-58A1-442A-9FDB-13B83505C8E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33BB5D3E-7EA3-4217-8524-E90CF2B6AC62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26183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9131" y="4999905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9131" y="1548016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28661" y="444457"/>
            <a:ext cx="1134681" cy="29212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24400" y="6106773"/>
            <a:ext cx="2743200" cy="366183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01F2B667-7264-4505-9F19-2E4AB44996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0778" y="1926301"/>
            <a:ext cx="9230445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56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57CD9AAA-CCAE-44AF-A224-A38A0B786F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778" y="3758157"/>
            <a:ext cx="9230445" cy="53795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56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F176A07A-C4FF-49D0-80C5-1B4F36FB3A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0778" y="4513248"/>
            <a:ext cx="9230445" cy="30838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776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28661" y="444457"/>
            <a:ext cx="1134681" cy="29212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Espace réservé du graphique SmartArt 18">
            <a:extLst>
              <a:ext uri="{FF2B5EF4-FFF2-40B4-BE49-F238E27FC236}">
                <a16:creationId xmlns:a16="http://schemas.microsoft.com/office/drawing/2014/main" id="{50E609C3-EA6F-468A-8B7C-CD27949FB33C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9130" y="4999905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Espace réservé du graphique SmartArt 19">
            <a:extLst>
              <a:ext uri="{FF2B5EF4-FFF2-40B4-BE49-F238E27FC236}">
                <a16:creationId xmlns:a16="http://schemas.microsoft.com/office/drawing/2014/main" id="{F155B637-1E1E-462B-9FBB-56FD4231172C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9130" y="1548016"/>
            <a:ext cx="153740" cy="15264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287A90CB-3485-4D3D-9E87-2D7382BBBC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0778" y="1926301"/>
            <a:ext cx="9230445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56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54CCF570-9115-4289-839C-7FACBC619C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778" y="3758157"/>
            <a:ext cx="9230445" cy="53795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56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889FD9C7-FB39-4714-81F8-6EA37E5B621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0778" y="4513248"/>
            <a:ext cx="9230445" cy="308387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2908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 with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7886700" y="6046106"/>
            <a:ext cx="2743200" cy="366183"/>
          </a:xfrm>
        </p:spPr>
        <p:txBody>
          <a:bodyPr/>
          <a:lstStyle/>
          <a:p>
            <a:endParaRPr lang="fr-FR"/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0961" y="516248"/>
            <a:ext cx="1134681" cy="29212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4F60E46E-0715-41F6-BEAC-C9C998D41D44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9190079" y="1763753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22" name="Espace réservé du graphique SmartArt 11">
            <a:extLst>
              <a:ext uri="{FF2B5EF4-FFF2-40B4-BE49-F238E27FC236}">
                <a16:creationId xmlns:a16="http://schemas.microsoft.com/office/drawing/2014/main" id="{2835F6F0-E601-40E8-8F65-7949A8AA2AF1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9190079" y="5169752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374847" cy="68580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CA236998-34E3-4BB4-B42A-72EE346C3C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83430" y="1926301"/>
            <a:ext cx="4949741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40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14179443-CD99-4560-A70A-CF3E60CA5C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83430" y="3758157"/>
            <a:ext cx="4949741" cy="53795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633150E7-212E-42D8-857F-00B727BB0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83430" y="4320498"/>
            <a:ext cx="4949741" cy="77066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7035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tle with Imag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7886700" y="6046106"/>
            <a:ext cx="2743200" cy="36618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0961" y="516248"/>
            <a:ext cx="1134681" cy="29212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6374847" cy="68580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540F3744-EAB0-48D1-B7AE-720C8628C071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9190079" y="1763753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graphique SmartArt 11">
            <a:extLst>
              <a:ext uri="{FF2B5EF4-FFF2-40B4-BE49-F238E27FC236}">
                <a16:creationId xmlns:a16="http://schemas.microsoft.com/office/drawing/2014/main" id="{E04644FF-725F-4770-81BC-F016774228AE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9190079" y="5169752"/>
            <a:ext cx="136443" cy="135473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08D4AEF-2960-4B86-98AA-A0ABA6675B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83430" y="1926301"/>
            <a:ext cx="4949741" cy="165814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40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C4763866-3F61-4A13-9CE8-9A542B41F4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83430" y="3758157"/>
            <a:ext cx="4949741" cy="53795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2667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A2D6EFB-94B5-487C-A9CF-03E9B187D6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83430" y="4320498"/>
            <a:ext cx="4949741" cy="77066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61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with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AE9FBA9E-4B66-4D19-A4F1-FA106CF943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3703" y="710399"/>
            <a:ext cx="6342328" cy="551059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208746F7-3CD2-431F-B427-E3AA9BF36F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AT-US-2204959-v1.0-07/2022</a:t>
            </a:r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76DFA8B-7FBD-4F98-B6B6-233EDD231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3DFCED8-0EB4-4E57-BDC7-7349EFC7B9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2031" y="1960151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C565C352-3015-43B5-A637-271B7D2E32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2031" y="2753672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0" name="Espace réservé du texte 17">
            <a:extLst>
              <a:ext uri="{FF2B5EF4-FFF2-40B4-BE49-F238E27FC236}">
                <a16:creationId xmlns:a16="http://schemas.microsoft.com/office/drawing/2014/main" id="{15EE83C4-9859-4D9B-B740-E8C01E8B93D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031" y="3541323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74DFA65F-CF7B-4ED8-8B06-C50BE51634C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2031" y="4334844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5" name="Espace réservé du texte 17">
            <a:extLst>
              <a:ext uri="{FF2B5EF4-FFF2-40B4-BE49-F238E27FC236}">
                <a16:creationId xmlns:a16="http://schemas.microsoft.com/office/drawing/2014/main" id="{DBF18F57-A4B6-4E01-8E41-3610197C40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2031" y="5128365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41" name="Espace réservé du texte 17">
            <a:extLst>
              <a:ext uri="{FF2B5EF4-FFF2-40B4-BE49-F238E27FC236}">
                <a16:creationId xmlns:a16="http://schemas.microsoft.com/office/drawing/2014/main" id="{8AFC591C-8E4C-4797-84E6-9ACB86CA696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1191546" y="2311400"/>
            <a:ext cx="3982961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0" name="Espace réservé du texte 17">
            <a:extLst>
              <a:ext uri="{FF2B5EF4-FFF2-40B4-BE49-F238E27FC236}">
                <a16:creationId xmlns:a16="http://schemas.microsoft.com/office/drawing/2014/main" id="{591A3E6F-3476-47ED-8C55-9EBB33F42A52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1190362" y="1957990"/>
            <a:ext cx="3982961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5" name="Espace réservé du texte 17">
            <a:extLst>
              <a:ext uri="{FF2B5EF4-FFF2-40B4-BE49-F238E27FC236}">
                <a16:creationId xmlns:a16="http://schemas.microsoft.com/office/drawing/2014/main" id="{BD354000-934E-43A7-902B-EB0E6D553454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1191546" y="3111067"/>
            <a:ext cx="3982961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6" name="Espace réservé du texte 17">
            <a:extLst>
              <a:ext uri="{FF2B5EF4-FFF2-40B4-BE49-F238E27FC236}">
                <a16:creationId xmlns:a16="http://schemas.microsoft.com/office/drawing/2014/main" id="{674EDB5F-2360-4BDB-B4A4-F38BB2AA2521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1190362" y="2757656"/>
            <a:ext cx="3982961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7" name="Espace réservé du texte 17">
            <a:extLst>
              <a:ext uri="{FF2B5EF4-FFF2-40B4-BE49-F238E27FC236}">
                <a16:creationId xmlns:a16="http://schemas.microsoft.com/office/drawing/2014/main" id="{6764734A-FBDE-4D25-92A5-672B3F6077B1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1191546" y="3894737"/>
            <a:ext cx="3982961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8" name="Espace réservé du texte 17">
            <a:extLst>
              <a:ext uri="{FF2B5EF4-FFF2-40B4-BE49-F238E27FC236}">
                <a16:creationId xmlns:a16="http://schemas.microsoft.com/office/drawing/2014/main" id="{6227F425-D7E4-4B90-9761-EBF3BCC4260C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1190362" y="3541327"/>
            <a:ext cx="3982961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9" name="Espace réservé du texte 17">
            <a:extLst>
              <a:ext uri="{FF2B5EF4-FFF2-40B4-BE49-F238E27FC236}">
                <a16:creationId xmlns:a16="http://schemas.microsoft.com/office/drawing/2014/main" id="{7A462145-8066-42E6-AEC7-B7FFB4004F0C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1191546" y="4686405"/>
            <a:ext cx="3982961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0" name="Espace réservé du texte 17">
            <a:extLst>
              <a:ext uri="{FF2B5EF4-FFF2-40B4-BE49-F238E27FC236}">
                <a16:creationId xmlns:a16="http://schemas.microsoft.com/office/drawing/2014/main" id="{BDFC2A5C-1456-4E38-B7B8-53173C4D7226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1190362" y="4332995"/>
            <a:ext cx="3982961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1" name="Espace réservé du texte 17">
            <a:extLst>
              <a:ext uri="{FF2B5EF4-FFF2-40B4-BE49-F238E27FC236}">
                <a16:creationId xmlns:a16="http://schemas.microsoft.com/office/drawing/2014/main" id="{6F16C3B8-AA5D-4F33-B410-8B2C3BE2F2C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1191546" y="5485760"/>
            <a:ext cx="3982961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2" name="Espace réservé du texte 17">
            <a:extLst>
              <a:ext uri="{FF2B5EF4-FFF2-40B4-BE49-F238E27FC236}">
                <a16:creationId xmlns:a16="http://schemas.microsoft.com/office/drawing/2014/main" id="{8C14FA2C-33DC-431E-9580-8F16A359800B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1190362" y="5132350"/>
            <a:ext cx="3982961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77699B-FF9F-427C-87A3-B361DFAB5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4731723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021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208746F7-3CD2-431F-B427-E3AA9BF36F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76DFA8B-7FBD-4F98-B6B6-233EDD231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7" name="Espace réservé du texte 17">
            <a:extLst>
              <a:ext uri="{FF2B5EF4-FFF2-40B4-BE49-F238E27FC236}">
                <a16:creationId xmlns:a16="http://schemas.microsoft.com/office/drawing/2014/main" id="{9CDF02F4-4E8C-4E89-B7C0-915F018992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43071" y="1960151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99" name="Espace réservé du texte 17">
            <a:extLst>
              <a:ext uri="{FF2B5EF4-FFF2-40B4-BE49-F238E27FC236}">
                <a16:creationId xmlns:a16="http://schemas.microsoft.com/office/drawing/2014/main" id="{E9841E24-6A28-4ABC-A6CA-596885012B8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3071" y="2753672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01" name="Espace réservé du texte 17">
            <a:extLst>
              <a:ext uri="{FF2B5EF4-FFF2-40B4-BE49-F238E27FC236}">
                <a16:creationId xmlns:a16="http://schemas.microsoft.com/office/drawing/2014/main" id="{E6201C6B-3D61-415D-A81D-394F193593E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43071" y="3541323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03" name="Espace réservé du texte 17">
            <a:extLst>
              <a:ext uri="{FF2B5EF4-FFF2-40B4-BE49-F238E27FC236}">
                <a16:creationId xmlns:a16="http://schemas.microsoft.com/office/drawing/2014/main" id="{E49EEF33-C71E-40D1-9265-9BA472F3F6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43071" y="4334844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05" name="Espace réservé du texte 17">
            <a:extLst>
              <a:ext uri="{FF2B5EF4-FFF2-40B4-BE49-F238E27FC236}">
                <a16:creationId xmlns:a16="http://schemas.microsoft.com/office/drawing/2014/main" id="{C11A4F59-2FB0-4630-BFDA-22FD2B5576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43071" y="5128365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17" name="Espace réservé du texte 17">
            <a:extLst>
              <a:ext uri="{FF2B5EF4-FFF2-40B4-BE49-F238E27FC236}">
                <a16:creationId xmlns:a16="http://schemas.microsoft.com/office/drawing/2014/main" id="{BC549DD2-19EC-48CD-B888-45BB704C417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8593" y="1960151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19" name="Espace réservé du texte 17">
            <a:extLst>
              <a:ext uri="{FF2B5EF4-FFF2-40B4-BE49-F238E27FC236}">
                <a16:creationId xmlns:a16="http://schemas.microsoft.com/office/drawing/2014/main" id="{3F60EFF9-C152-4B38-A6F0-B6187C82AB3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628593" y="2753672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21" name="Espace réservé du texte 17">
            <a:extLst>
              <a:ext uri="{FF2B5EF4-FFF2-40B4-BE49-F238E27FC236}">
                <a16:creationId xmlns:a16="http://schemas.microsoft.com/office/drawing/2014/main" id="{79245E80-9388-4650-8049-250CA8CADB1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28593" y="3541323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23" name="Espace réservé du texte 17">
            <a:extLst>
              <a:ext uri="{FF2B5EF4-FFF2-40B4-BE49-F238E27FC236}">
                <a16:creationId xmlns:a16="http://schemas.microsoft.com/office/drawing/2014/main" id="{38029C0C-186F-4AA6-979B-ED3F5FBAE0C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628593" y="4334844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25" name="Espace réservé du texte 17">
            <a:extLst>
              <a:ext uri="{FF2B5EF4-FFF2-40B4-BE49-F238E27FC236}">
                <a16:creationId xmlns:a16="http://schemas.microsoft.com/office/drawing/2014/main" id="{59A7AD2F-F568-4503-8FF8-3611A660ED3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628593" y="5128365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71" name="Espace réservé du texte 17">
            <a:extLst>
              <a:ext uri="{FF2B5EF4-FFF2-40B4-BE49-F238E27FC236}">
                <a16:creationId xmlns:a16="http://schemas.microsoft.com/office/drawing/2014/main" id="{F76009EF-0F43-4873-91C8-26C6B0F441B3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1890217" y="2311400"/>
            <a:ext cx="3984145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2" name="Espace réservé du texte 17">
            <a:extLst>
              <a:ext uri="{FF2B5EF4-FFF2-40B4-BE49-F238E27FC236}">
                <a16:creationId xmlns:a16="http://schemas.microsoft.com/office/drawing/2014/main" id="{992C4267-8843-489C-BDA2-A7781B549C30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1889033" y="1957990"/>
            <a:ext cx="3984145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3" name="Espace réservé du texte 17">
            <a:extLst>
              <a:ext uri="{FF2B5EF4-FFF2-40B4-BE49-F238E27FC236}">
                <a16:creationId xmlns:a16="http://schemas.microsoft.com/office/drawing/2014/main" id="{9CA0A737-645E-4692-BFD7-8713830985A3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1890217" y="3111067"/>
            <a:ext cx="3984145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4" name="Espace réservé du texte 17">
            <a:extLst>
              <a:ext uri="{FF2B5EF4-FFF2-40B4-BE49-F238E27FC236}">
                <a16:creationId xmlns:a16="http://schemas.microsoft.com/office/drawing/2014/main" id="{EA07FC7D-0F48-467E-8265-8D2A4C7B25A5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1889033" y="2757656"/>
            <a:ext cx="3984145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5" name="Espace réservé du texte 17">
            <a:extLst>
              <a:ext uri="{FF2B5EF4-FFF2-40B4-BE49-F238E27FC236}">
                <a16:creationId xmlns:a16="http://schemas.microsoft.com/office/drawing/2014/main" id="{DABC94A2-3D6D-4C3B-99A1-FC80D5B47E01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1890217" y="3894737"/>
            <a:ext cx="3984145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6" name="Espace réservé du texte 17">
            <a:extLst>
              <a:ext uri="{FF2B5EF4-FFF2-40B4-BE49-F238E27FC236}">
                <a16:creationId xmlns:a16="http://schemas.microsoft.com/office/drawing/2014/main" id="{B4BCF212-97F3-4F17-A4AF-E597DA1C4089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1889033" y="3541327"/>
            <a:ext cx="3984145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7" name="Espace réservé du texte 17">
            <a:extLst>
              <a:ext uri="{FF2B5EF4-FFF2-40B4-BE49-F238E27FC236}">
                <a16:creationId xmlns:a16="http://schemas.microsoft.com/office/drawing/2014/main" id="{F13BA32F-5E1A-4B20-A528-9672446426DC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1890217" y="4686405"/>
            <a:ext cx="3984145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8" name="Espace réservé du texte 17">
            <a:extLst>
              <a:ext uri="{FF2B5EF4-FFF2-40B4-BE49-F238E27FC236}">
                <a16:creationId xmlns:a16="http://schemas.microsoft.com/office/drawing/2014/main" id="{920DB0B3-FD86-49D8-8F01-632DB0B0FF76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1889033" y="4332995"/>
            <a:ext cx="3984145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9" name="Espace réservé du texte 17">
            <a:extLst>
              <a:ext uri="{FF2B5EF4-FFF2-40B4-BE49-F238E27FC236}">
                <a16:creationId xmlns:a16="http://schemas.microsoft.com/office/drawing/2014/main" id="{4D5C3EB0-17A1-481A-8460-030803714A3D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>
          <a:xfrm>
            <a:off x="1890217" y="5485760"/>
            <a:ext cx="3984145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0" name="Espace réservé du texte 17">
            <a:extLst>
              <a:ext uri="{FF2B5EF4-FFF2-40B4-BE49-F238E27FC236}">
                <a16:creationId xmlns:a16="http://schemas.microsoft.com/office/drawing/2014/main" id="{0BC088B8-2A7D-4727-84F1-67BE7254C140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>
          <a:xfrm>
            <a:off x="1889033" y="5132350"/>
            <a:ext cx="3984145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1" name="Espace réservé du texte 17">
            <a:extLst>
              <a:ext uri="{FF2B5EF4-FFF2-40B4-BE49-F238E27FC236}">
                <a16:creationId xmlns:a16="http://schemas.microsoft.com/office/drawing/2014/main" id="{5599C94B-1830-4681-A21C-C4AE3554868C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7376332" y="2311400"/>
            <a:ext cx="3984145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2" name="Espace réservé du texte 17">
            <a:extLst>
              <a:ext uri="{FF2B5EF4-FFF2-40B4-BE49-F238E27FC236}">
                <a16:creationId xmlns:a16="http://schemas.microsoft.com/office/drawing/2014/main" id="{81F4A82C-0719-446F-8204-BD600D39DFA6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>
          <a:xfrm>
            <a:off x="7375148" y="1957990"/>
            <a:ext cx="3984145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3" name="Espace réservé du texte 17">
            <a:extLst>
              <a:ext uri="{FF2B5EF4-FFF2-40B4-BE49-F238E27FC236}">
                <a16:creationId xmlns:a16="http://schemas.microsoft.com/office/drawing/2014/main" id="{EF8088A7-1D02-466E-84F0-04D764E0DC4A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7376332" y="3111067"/>
            <a:ext cx="3984145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4" name="Espace réservé du texte 17">
            <a:extLst>
              <a:ext uri="{FF2B5EF4-FFF2-40B4-BE49-F238E27FC236}">
                <a16:creationId xmlns:a16="http://schemas.microsoft.com/office/drawing/2014/main" id="{134577A3-254A-436C-A36C-9D09814B41BB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>
          <a:xfrm>
            <a:off x="7375148" y="2757656"/>
            <a:ext cx="3984145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5" name="Espace réservé du texte 17">
            <a:extLst>
              <a:ext uri="{FF2B5EF4-FFF2-40B4-BE49-F238E27FC236}">
                <a16:creationId xmlns:a16="http://schemas.microsoft.com/office/drawing/2014/main" id="{694AA9F3-9F80-43B9-A7BA-A659EBF77CF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7376332" y="3894737"/>
            <a:ext cx="3984145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6" name="Espace réservé du texte 17">
            <a:extLst>
              <a:ext uri="{FF2B5EF4-FFF2-40B4-BE49-F238E27FC236}">
                <a16:creationId xmlns:a16="http://schemas.microsoft.com/office/drawing/2014/main" id="{3123C134-847A-48A6-8622-283EBB3AFAB9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>
          <a:xfrm>
            <a:off x="7375148" y="3541327"/>
            <a:ext cx="3984145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7" name="Espace réservé du texte 17">
            <a:extLst>
              <a:ext uri="{FF2B5EF4-FFF2-40B4-BE49-F238E27FC236}">
                <a16:creationId xmlns:a16="http://schemas.microsoft.com/office/drawing/2014/main" id="{EF32F629-964F-4E14-B1A1-6D678560527F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>
          <a:xfrm>
            <a:off x="7376332" y="4686405"/>
            <a:ext cx="3984145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8" name="Espace réservé du texte 17">
            <a:extLst>
              <a:ext uri="{FF2B5EF4-FFF2-40B4-BE49-F238E27FC236}">
                <a16:creationId xmlns:a16="http://schemas.microsoft.com/office/drawing/2014/main" id="{A0F44CD8-F3DD-47F9-9C0A-6B207499E86A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>
          <a:xfrm>
            <a:off x="7375148" y="4332995"/>
            <a:ext cx="3984145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9" name="Espace réservé du texte 17">
            <a:extLst>
              <a:ext uri="{FF2B5EF4-FFF2-40B4-BE49-F238E27FC236}">
                <a16:creationId xmlns:a16="http://schemas.microsoft.com/office/drawing/2014/main" id="{816D3008-850F-471B-9C7E-0D97399B5925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>
          <a:xfrm>
            <a:off x="7376332" y="5485760"/>
            <a:ext cx="3984145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0" name="Espace réservé du texte 17">
            <a:extLst>
              <a:ext uri="{FF2B5EF4-FFF2-40B4-BE49-F238E27FC236}">
                <a16:creationId xmlns:a16="http://schemas.microsoft.com/office/drawing/2014/main" id="{D3020D71-C5F3-42BA-8874-B40E24DB7F68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7375148" y="5132350"/>
            <a:ext cx="3984145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399648-618D-47E8-91C9-BB5481D98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772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Large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208746F7-3CD2-431F-B427-E3AA9BF36F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76DFA8B-7FBD-4F98-B6B6-233EDD231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32" name="Connecteur droit 13">
            <a:extLst>
              <a:ext uri="{FF2B5EF4-FFF2-40B4-BE49-F238E27FC236}">
                <a16:creationId xmlns:a16="http://schemas.microsoft.com/office/drawing/2014/main" id="{7BC19BBF-83CB-4541-9E5A-ACB3379B1867}"/>
              </a:ext>
            </a:extLst>
          </p:cNvPr>
          <p:cNvCxnSpPr>
            <a:cxnSpLocks/>
          </p:cNvCxnSpPr>
          <p:nvPr userDrawn="1"/>
        </p:nvCxnSpPr>
        <p:spPr>
          <a:xfrm>
            <a:off x="1770509" y="1864891"/>
            <a:ext cx="0" cy="43561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eur droit 13">
            <a:extLst>
              <a:ext uri="{FF2B5EF4-FFF2-40B4-BE49-F238E27FC236}">
                <a16:creationId xmlns:a16="http://schemas.microsoft.com/office/drawing/2014/main" id="{85FA77DC-6A39-4C5E-A7D7-DB530C4F2170}"/>
              </a:ext>
            </a:extLst>
          </p:cNvPr>
          <p:cNvCxnSpPr>
            <a:cxnSpLocks/>
          </p:cNvCxnSpPr>
          <p:nvPr userDrawn="1"/>
        </p:nvCxnSpPr>
        <p:spPr>
          <a:xfrm>
            <a:off x="7256625" y="1864891"/>
            <a:ext cx="0" cy="43561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Espace réservé du graphique SmartArt 11">
            <a:extLst>
              <a:ext uri="{FF2B5EF4-FFF2-40B4-BE49-F238E27FC236}">
                <a16:creationId xmlns:a16="http://schemas.microsoft.com/office/drawing/2014/main" id="{23BA7E43-84CF-486A-BB7B-AD1F2F009C79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736092" y="2095106"/>
            <a:ext cx="70019" cy="6951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97" name="Espace réservé du texte 17">
            <a:extLst>
              <a:ext uri="{FF2B5EF4-FFF2-40B4-BE49-F238E27FC236}">
                <a16:creationId xmlns:a16="http://schemas.microsoft.com/office/drawing/2014/main" id="{9CDF02F4-4E8C-4E89-B7C0-915F018992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43071" y="1960151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99" name="Espace réservé du texte 17">
            <a:extLst>
              <a:ext uri="{FF2B5EF4-FFF2-40B4-BE49-F238E27FC236}">
                <a16:creationId xmlns:a16="http://schemas.microsoft.com/office/drawing/2014/main" id="{E9841E24-6A28-4ABC-A6CA-596885012B8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3071" y="2753672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01" name="Espace réservé du texte 17">
            <a:extLst>
              <a:ext uri="{FF2B5EF4-FFF2-40B4-BE49-F238E27FC236}">
                <a16:creationId xmlns:a16="http://schemas.microsoft.com/office/drawing/2014/main" id="{E6201C6B-3D61-415D-A81D-394F193593E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43071" y="3541323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03" name="Espace réservé du texte 17">
            <a:extLst>
              <a:ext uri="{FF2B5EF4-FFF2-40B4-BE49-F238E27FC236}">
                <a16:creationId xmlns:a16="http://schemas.microsoft.com/office/drawing/2014/main" id="{E49EEF33-C71E-40D1-9265-9BA472F3F6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43071" y="4334844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05" name="Espace réservé du texte 17">
            <a:extLst>
              <a:ext uri="{FF2B5EF4-FFF2-40B4-BE49-F238E27FC236}">
                <a16:creationId xmlns:a16="http://schemas.microsoft.com/office/drawing/2014/main" id="{C11A4F59-2FB0-4630-BFDA-22FD2B5576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43071" y="5128365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17" name="Espace réservé du texte 17">
            <a:extLst>
              <a:ext uri="{FF2B5EF4-FFF2-40B4-BE49-F238E27FC236}">
                <a16:creationId xmlns:a16="http://schemas.microsoft.com/office/drawing/2014/main" id="{BC549DD2-19EC-48CD-B888-45BB704C417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8593" y="1960151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19" name="Espace réservé du texte 17">
            <a:extLst>
              <a:ext uri="{FF2B5EF4-FFF2-40B4-BE49-F238E27FC236}">
                <a16:creationId xmlns:a16="http://schemas.microsoft.com/office/drawing/2014/main" id="{3F60EFF9-C152-4B38-A6F0-B6187C82AB3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628593" y="2753672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21" name="Espace réservé du texte 17">
            <a:extLst>
              <a:ext uri="{FF2B5EF4-FFF2-40B4-BE49-F238E27FC236}">
                <a16:creationId xmlns:a16="http://schemas.microsoft.com/office/drawing/2014/main" id="{79245E80-9388-4650-8049-250CA8CADB1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28593" y="3541323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23" name="Espace réservé du texte 17">
            <a:extLst>
              <a:ext uri="{FF2B5EF4-FFF2-40B4-BE49-F238E27FC236}">
                <a16:creationId xmlns:a16="http://schemas.microsoft.com/office/drawing/2014/main" id="{38029C0C-186F-4AA6-979B-ED3F5FBAE0C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628593" y="4334844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25" name="Espace réservé du texte 17">
            <a:extLst>
              <a:ext uri="{FF2B5EF4-FFF2-40B4-BE49-F238E27FC236}">
                <a16:creationId xmlns:a16="http://schemas.microsoft.com/office/drawing/2014/main" id="{59A7AD2F-F568-4503-8FF8-3611A660ED3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628593" y="5128365"/>
            <a:ext cx="517952" cy="563307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lang="en-US" sz="2133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267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59976">
              <a:lnSpc>
                <a:spcPct val="90000"/>
              </a:lnSpc>
              <a:spcBef>
                <a:spcPts val="400"/>
              </a:spcBef>
              <a:defRPr lang="fr-FR" sz="933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71" name="Espace réservé du texte 17">
            <a:extLst>
              <a:ext uri="{FF2B5EF4-FFF2-40B4-BE49-F238E27FC236}">
                <a16:creationId xmlns:a16="http://schemas.microsoft.com/office/drawing/2014/main" id="{F76009EF-0F43-4873-91C8-26C6B0F441B3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2035303" y="231140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2" name="Espace réservé du texte 17">
            <a:extLst>
              <a:ext uri="{FF2B5EF4-FFF2-40B4-BE49-F238E27FC236}">
                <a16:creationId xmlns:a16="http://schemas.microsoft.com/office/drawing/2014/main" id="{992C4267-8843-489C-BDA2-A7781B549C30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2034119" y="195799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3" name="Espace réservé du texte 17">
            <a:extLst>
              <a:ext uri="{FF2B5EF4-FFF2-40B4-BE49-F238E27FC236}">
                <a16:creationId xmlns:a16="http://schemas.microsoft.com/office/drawing/2014/main" id="{9CA0A737-645E-4692-BFD7-8713830985A3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2035303" y="311106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4" name="Espace réservé du texte 17">
            <a:extLst>
              <a:ext uri="{FF2B5EF4-FFF2-40B4-BE49-F238E27FC236}">
                <a16:creationId xmlns:a16="http://schemas.microsoft.com/office/drawing/2014/main" id="{EA07FC7D-0F48-467E-8265-8D2A4C7B25A5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2034119" y="2757656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5" name="Espace réservé du texte 17">
            <a:extLst>
              <a:ext uri="{FF2B5EF4-FFF2-40B4-BE49-F238E27FC236}">
                <a16:creationId xmlns:a16="http://schemas.microsoft.com/office/drawing/2014/main" id="{DABC94A2-3D6D-4C3B-99A1-FC80D5B47E01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2035303" y="389473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6" name="Espace réservé du texte 17">
            <a:extLst>
              <a:ext uri="{FF2B5EF4-FFF2-40B4-BE49-F238E27FC236}">
                <a16:creationId xmlns:a16="http://schemas.microsoft.com/office/drawing/2014/main" id="{B4BCF212-97F3-4F17-A4AF-E597DA1C4089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2034119" y="3541327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7" name="Espace réservé du texte 17">
            <a:extLst>
              <a:ext uri="{FF2B5EF4-FFF2-40B4-BE49-F238E27FC236}">
                <a16:creationId xmlns:a16="http://schemas.microsoft.com/office/drawing/2014/main" id="{F13BA32F-5E1A-4B20-A528-9672446426DC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2035303" y="4686405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8" name="Espace réservé du texte 17">
            <a:extLst>
              <a:ext uri="{FF2B5EF4-FFF2-40B4-BE49-F238E27FC236}">
                <a16:creationId xmlns:a16="http://schemas.microsoft.com/office/drawing/2014/main" id="{920DB0B3-FD86-49D8-8F01-632DB0B0FF76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2034119" y="4332995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9" name="Espace réservé du texte 17">
            <a:extLst>
              <a:ext uri="{FF2B5EF4-FFF2-40B4-BE49-F238E27FC236}">
                <a16:creationId xmlns:a16="http://schemas.microsoft.com/office/drawing/2014/main" id="{4D5C3EB0-17A1-481A-8460-030803714A3D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>
          <a:xfrm>
            <a:off x="2035303" y="548576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0" name="Espace réservé du texte 17">
            <a:extLst>
              <a:ext uri="{FF2B5EF4-FFF2-40B4-BE49-F238E27FC236}">
                <a16:creationId xmlns:a16="http://schemas.microsoft.com/office/drawing/2014/main" id="{0BC088B8-2A7D-4727-84F1-67BE7254C140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>
          <a:xfrm>
            <a:off x="2034119" y="513235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1" name="Espace réservé du texte 17">
            <a:extLst>
              <a:ext uri="{FF2B5EF4-FFF2-40B4-BE49-F238E27FC236}">
                <a16:creationId xmlns:a16="http://schemas.microsoft.com/office/drawing/2014/main" id="{5599C94B-1830-4681-A21C-C4AE3554868C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7521417" y="231140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2" name="Espace réservé du texte 17">
            <a:extLst>
              <a:ext uri="{FF2B5EF4-FFF2-40B4-BE49-F238E27FC236}">
                <a16:creationId xmlns:a16="http://schemas.microsoft.com/office/drawing/2014/main" id="{81F4A82C-0719-446F-8204-BD600D39DFA6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>
          <a:xfrm>
            <a:off x="7520233" y="195799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3" name="Espace réservé du texte 17">
            <a:extLst>
              <a:ext uri="{FF2B5EF4-FFF2-40B4-BE49-F238E27FC236}">
                <a16:creationId xmlns:a16="http://schemas.microsoft.com/office/drawing/2014/main" id="{EF8088A7-1D02-466E-84F0-04D764E0DC4A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7521417" y="311106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4" name="Espace réservé du texte 17">
            <a:extLst>
              <a:ext uri="{FF2B5EF4-FFF2-40B4-BE49-F238E27FC236}">
                <a16:creationId xmlns:a16="http://schemas.microsoft.com/office/drawing/2014/main" id="{134577A3-254A-436C-A36C-9D09814B41BB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>
          <a:xfrm>
            <a:off x="7520233" y="2757656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5" name="Espace réservé du texte 17">
            <a:extLst>
              <a:ext uri="{FF2B5EF4-FFF2-40B4-BE49-F238E27FC236}">
                <a16:creationId xmlns:a16="http://schemas.microsoft.com/office/drawing/2014/main" id="{694AA9F3-9F80-43B9-A7BA-A659EBF77CF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7521417" y="3894737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6" name="Espace réservé du texte 17">
            <a:extLst>
              <a:ext uri="{FF2B5EF4-FFF2-40B4-BE49-F238E27FC236}">
                <a16:creationId xmlns:a16="http://schemas.microsoft.com/office/drawing/2014/main" id="{3123C134-847A-48A6-8622-283EBB3AFAB9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>
          <a:xfrm>
            <a:off x="7520233" y="3541327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7" name="Espace réservé du texte 17">
            <a:extLst>
              <a:ext uri="{FF2B5EF4-FFF2-40B4-BE49-F238E27FC236}">
                <a16:creationId xmlns:a16="http://schemas.microsoft.com/office/drawing/2014/main" id="{EF32F629-964F-4E14-B1A1-6D678560527F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>
          <a:xfrm>
            <a:off x="7521417" y="4686405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8" name="Espace réservé du texte 17">
            <a:extLst>
              <a:ext uri="{FF2B5EF4-FFF2-40B4-BE49-F238E27FC236}">
                <a16:creationId xmlns:a16="http://schemas.microsoft.com/office/drawing/2014/main" id="{A0F44CD8-F3DD-47F9-9C0A-6B207499E86A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>
          <a:xfrm>
            <a:off x="7520233" y="4332995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9" name="Espace réservé du texte 17">
            <a:extLst>
              <a:ext uri="{FF2B5EF4-FFF2-40B4-BE49-F238E27FC236}">
                <a16:creationId xmlns:a16="http://schemas.microsoft.com/office/drawing/2014/main" id="{816D3008-850F-471B-9C7E-0D97399B5925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>
          <a:xfrm>
            <a:off x="7521417" y="5485760"/>
            <a:ext cx="3839059" cy="205912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1067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1067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1067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0" name="Espace réservé du texte 17">
            <a:extLst>
              <a:ext uri="{FF2B5EF4-FFF2-40B4-BE49-F238E27FC236}">
                <a16:creationId xmlns:a16="http://schemas.microsoft.com/office/drawing/2014/main" id="{D3020D71-C5F3-42BA-8874-B40E24DB7F68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7520233" y="5132350"/>
            <a:ext cx="3839059" cy="32330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lang="fr-FR" sz="2133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800"/>
              </a:spcBef>
              <a:defRPr sz="2133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400"/>
              </a:spcBef>
              <a:defRPr lang="fr-FR" sz="2133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399648-618D-47E8-91C9-BB5481D98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164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8963" y="4159250"/>
            <a:ext cx="1271271" cy="1257300"/>
          </a:xfrm>
          <a:prstGeom prst="rect">
            <a:avLst/>
          </a:prstGeom>
        </p:spPr>
      </p:pic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3200" b="1" noProof="0" dirty="0">
                <a:solidFill>
                  <a:schemeClr val="tx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443199"/>
          </a:xfrm>
        </p:spPr>
        <p:txBody>
          <a:bodyPr/>
          <a:lstStyle>
            <a:lvl1pPr>
              <a:lnSpc>
                <a:spcPct val="90000"/>
              </a:lnSpc>
              <a:defRPr lang="fr-FR" sz="3200" b="1" i="0" kern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054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Light)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3200" b="1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26F07BC6-BD1D-4953-9F45-D190CB67B2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443199"/>
          </a:xfrm>
        </p:spPr>
        <p:txBody>
          <a:bodyPr/>
          <a:lstStyle>
            <a:lvl1pPr>
              <a:lnSpc>
                <a:spcPct val="90000"/>
              </a:lnSpc>
              <a:defRPr lang="fr-FR" sz="3200" b="1" i="0" kern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8" name="Graphique 4">
            <a:extLst>
              <a:ext uri="{FF2B5EF4-FFF2-40B4-BE49-F238E27FC236}">
                <a16:creationId xmlns:a16="http://schemas.microsoft.com/office/drawing/2014/main" id="{8304C7AB-4C03-445E-AB02-6507361166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16013" y="964399"/>
            <a:ext cx="1271271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158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Light)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3200" b="1" noProof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26F07BC6-BD1D-4953-9F45-D190CB67B2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443199"/>
          </a:xfrm>
        </p:spPr>
        <p:txBody>
          <a:bodyPr/>
          <a:lstStyle>
            <a:lvl1pPr>
              <a:lnSpc>
                <a:spcPct val="90000"/>
              </a:lnSpc>
              <a:defRPr lang="fr-FR" sz="3200" b="1" i="0" kern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8" name="Graphique 4">
            <a:extLst>
              <a:ext uri="{FF2B5EF4-FFF2-40B4-BE49-F238E27FC236}">
                <a16:creationId xmlns:a16="http://schemas.microsoft.com/office/drawing/2014/main" id="{47A4CFED-9962-48A7-8ED7-BCB4523B3A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607" y="5024590"/>
            <a:ext cx="1271271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10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8963" y="4159250"/>
            <a:ext cx="1271271" cy="1257300"/>
          </a:xfrm>
          <a:prstGeom prst="rect">
            <a:avLst/>
          </a:prstGeom>
        </p:spPr>
      </p:pic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3200" b="1" noProof="0" dirty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26F07BC6-BD1D-4953-9F45-D190CB67B2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443199"/>
          </a:xfrm>
        </p:spPr>
        <p:txBody>
          <a:bodyPr/>
          <a:lstStyle>
            <a:lvl1pPr>
              <a:lnSpc>
                <a:spcPct val="90000"/>
              </a:lnSpc>
              <a:defRPr lang="fr-FR" sz="3200" b="1" i="0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1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0" kern="1200" cap="all" baseline="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7346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Dark)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3200" b="1" noProof="0" dirty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26F07BC6-BD1D-4953-9F45-D190CB67B2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443199"/>
          </a:xfrm>
        </p:spPr>
        <p:txBody>
          <a:bodyPr/>
          <a:lstStyle>
            <a:lvl1pPr>
              <a:lnSpc>
                <a:spcPct val="90000"/>
              </a:lnSpc>
              <a:defRPr lang="fr-FR" sz="3200" b="1" i="0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1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0" kern="1200" cap="all" baseline="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8" name="Graphique 4">
            <a:extLst>
              <a:ext uri="{FF2B5EF4-FFF2-40B4-BE49-F238E27FC236}">
                <a16:creationId xmlns:a16="http://schemas.microsoft.com/office/drawing/2014/main" id="{8304C7AB-4C03-445E-AB02-6507361166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16013" y="964399"/>
            <a:ext cx="1271271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26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(Dark)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3200" b="1" noProof="0" dirty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26F07BC6-BD1D-4953-9F45-D190CB67B2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443199"/>
          </a:xfrm>
        </p:spPr>
        <p:txBody>
          <a:bodyPr/>
          <a:lstStyle>
            <a:lvl1pPr>
              <a:lnSpc>
                <a:spcPct val="90000"/>
              </a:lnSpc>
              <a:defRPr lang="fr-FR" sz="3200" b="1" i="0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1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0" kern="1200" cap="all" baseline="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8" name="Graphique 4">
            <a:extLst>
              <a:ext uri="{FF2B5EF4-FFF2-40B4-BE49-F238E27FC236}">
                <a16:creationId xmlns:a16="http://schemas.microsoft.com/office/drawing/2014/main" id="{47A4CFED-9962-48A7-8ED7-BCB4523B3A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607" y="5024590"/>
            <a:ext cx="1271271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47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B3CF0ECB-30FF-45DD-8A41-5DF28038CBA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" y="0"/>
            <a:ext cx="12191999" cy="6858000"/>
          </a:xfrm>
          <a:custGeom>
            <a:avLst/>
            <a:gdLst>
              <a:gd name="connsiteX0" fmla="*/ 351363 w 9143999"/>
              <a:gd name="connsiteY0" fmla="*/ 4913481 h 5143500"/>
              <a:gd name="connsiteX1" fmla="*/ 331613 w 9143999"/>
              <a:gd name="connsiteY1" fmla="*/ 4933530 h 5143500"/>
              <a:gd name="connsiteX2" fmla="*/ 352237 w 9143999"/>
              <a:gd name="connsiteY2" fmla="*/ 4953582 h 5143500"/>
              <a:gd name="connsiteX3" fmla="*/ 371987 w 9143999"/>
              <a:gd name="connsiteY3" fmla="*/ 4933533 h 5143500"/>
              <a:gd name="connsiteX4" fmla="*/ 351363 w 9143999"/>
              <a:gd name="connsiteY4" fmla="*/ 4913481 h 5143500"/>
              <a:gd name="connsiteX5" fmla="*/ 892593 w 9143999"/>
              <a:gd name="connsiteY5" fmla="*/ 4837587 h 5143500"/>
              <a:gd name="connsiteX6" fmla="*/ 917846 w 9143999"/>
              <a:gd name="connsiteY6" fmla="*/ 4847631 h 5143500"/>
              <a:gd name="connsiteX7" fmla="*/ 927648 w 9143999"/>
              <a:gd name="connsiteY7" fmla="*/ 4877990 h 5143500"/>
              <a:gd name="connsiteX8" fmla="*/ 918100 w 9143999"/>
              <a:gd name="connsiteY8" fmla="*/ 4908353 h 5143500"/>
              <a:gd name="connsiteX9" fmla="*/ 894866 w 9143999"/>
              <a:gd name="connsiteY9" fmla="*/ 4918277 h 5143500"/>
              <a:gd name="connsiteX10" fmla="*/ 868933 w 9143999"/>
              <a:gd name="connsiteY10" fmla="*/ 4908080 h 5143500"/>
              <a:gd name="connsiteX11" fmla="*/ 859062 w 9143999"/>
              <a:gd name="connsiteY11" fmla="*/ 4877877 h 5143500"/>
              <a:gd name="connsiteX12" fmla="*/ 868678 w 9143999"/>
              <a:gd name="connsiteY12" fmla="*/ 4847677 h 5143500"/>
              <a:gd name="connsiteX13" fmla="*/ 559057 w 9143999"/>
              <a:gd name="connsiteY13" fmla="*/ 4837499 h 5143500"/>
              <a:gd name="connsiteX14" fmla="*/ 578336 w 9143999"/>
              <a:gd name="connsiteY14" fmla="*/ 4840021 h 5143500"/>
              <a:gd name="connsiteX15" fmla="*/ 585643 w 9143999"/>
              <a:gd name="connsiteY15" fmla="*/ 4847817 h 5143500"/>
              <a:gd name="connsiteX16" fmla="*/ 585643 w 9143999"/>
              <a:gd name="connsiteY16" fmla="*/ 4907937 h 5143500"/>
              <a:gd name="connsiteX17" fmla="*/ 578336 w 9143999"/>
              <a:gd name="connsiteY17" fmla="*/ 4915741 h 5143500"/>
              <a:gd name="connsiteX18" fmla="*/ 558605 w 9143999"/>
              <a:gd name="connsiteY18" fmla="*/ 4918322 h 5143500"/>
              <a:gd name="connsiteX19" fmla="*/ 534559 w 9143999"/>
              <a:gd name="connsiteY19" fmla="*/ 4909442 h 5143500"/>
              <a:gd name="connsiteX20" fmla="*/ 523519 w 9143999"/>
              <a:gd name="connsiteY20" fmla="*/ 4877990 h 5143500"/>
              <a:gd name="connsiteX21" fmla="*/ 534559 w 9143999"/>
              <a:gd name="connsiteY21" fmla="*/ 4846542 h 5143500"/>
              <a:gd name="connsiteX22" fmla="*/ 1101680 w 9143999"/>
              <a:gd name="connsiteY22" fmla="*/ 4805359 h 5143500"/>
              <a:gd name="connsiteX23" fmla="*/ 1095864 w 9143999"/>
              <a:gd name="connsiteY23" fmla="*/ 4811167 h 5143500"/>
              <a:gd name="connsiteX24" fmla="*/ 1095864 w 9143999"/>
              <a:gd name="connsiteY24" fmla="*/ 4944812 h 5143500"/>
              <a:gd name="connsiteX25" fmla="*/ 1101680 w 9143999"/>
              <a:gd name="connsiteY25" fmla="*/ 4950628 h 5143500"/>
              <a:gd name="connsiteX26" fmla="*/ 1127823 w 9143999"/>
              <a:gd name="connsiteY26" fmla="*/ 4950628 h 5143500"/>
              <a:gd name="connsiteX27" fmla="*/ 1128318 w 9143999"/>
              <a:gd name="connsiteY27" fmla="*/ 4950134 h 5143500"/>
              <a:gd name="connsiteX28" fmla="*/ 1130431 w 9143999"/>
              <a:gd name="connsiteY28" fmla="*/ 4950134 h 5143500"/>
              <a:gd name="connsiteX29" fmla="*/ 1136285 w 9143999"/>
              <a:gd name="connsiteY29" fmla="*/ 4944348 h 5143500"/>
              <a:gd name="connsiteX30" fmla="*/ 1136285 w 9143999"/>
              <a:gd name="connsiteY30" fmla="*/ 4811405 h 5143500"/>
              <a:gd name="connsiteX31" fmla="*/ 1130431 w 9143999"/>
              <a:gd name="connsiteY31" fmla="*/ 4805627 h 5143500"/>
              <a:gd name="connsiteX32" fmla="*/ 1128092 w 9143999"/>
              <a:gd name="connsiteY32" fmla="*/ 4805627 h 5143500"/>
              <a:gd name="connsiteX33" fmla="*/ 1127823 w 9143999"/>
              <a:gd name="connsiteY33" fmla="*/ 4805359 h 5143500"/>
              <a:gd name="connsiteX34" fmla="*/ 891920 w 9143999"/>
              <a:gd name="connsiteY34" fmla="*/ 4802455 h 5143500"/>
              <a:gd name="connsiteX35" fmla="*/ 819859 w 9143999"/>
              <a:gd name="connsiteY35" fmla="*/ 4877990 h 5143500"/>
              <a:gd name="connsiteX36" fmla="*/ 893949 w 9143999"/>
              <a:gd name="connsiteY36" fmla="*/ 4953533 h 5143500"/>
              <a:gd name="connsiteX37" fmla="*/ 923593 w 9143999"/>
              <a:gd name="connsiteY37" fmla="*/ 4947899 h 5143500"/>
              <a:gd name="connsiteX38" fmla="*/ 924071 w 9143999"/>
              <a:gd name="connsiteY38" fmla="*/ 4947569 h 5143500"/>
              <a:gd name="connsiteX39" fmla="*/ 924870 w 9143999"/>
              <a:gd name="connsiteY39" fmla="*/ 4947419 h 5143500"/>
              <a:gd name="connsiteX40" fmla="*/ 967553 w 9143999"/>
              <a:gd name="connsiteY40" fmla="*/ 4877877 h 5143500"/>
              <a:gd name="connsiteX41" fmla="*/ 924008 w 9143999"/>
              <a:gd name="connsiteY41" fmla="*/ 4808342 h 5143500"/>
              <a:gd name="connsiteX42" fmla="*/ 922787 w 9143999"/>
              <a:gd name="connsiteY42" fmla="*/ 4808121 h 5143500"/>
              <a:gd name="connsiteX43" fmla="*/ 922737 w 9143999"/>
              <a:gd name="connsiteY43" fmla="*/ 4808088 h 5143500"/>
              <a:gd name="connsiteX44" fmla="*/ 891920 w 9143999"/>
              <a:gd name="connsiteY44" fmla="*/ 4802455 h 5143500"/>
              <a:gd name="connsiteX45" fmla="*/ 725443 w 9143999"/>
              <a:gd name="connsiteY45" fmla="*/ 4802455 h 5143500"/>
              <a:gd name="connsiteX46" fmla="*/ 667045 w 9143999"/>
              <a:gd name="connsiteY46" fmla="*/ 4812907 h 5143500"/>
              <a:gd name="connsiteX47" fmla="*/ 666933 w 9143999"/>
              <a:gd name="connsiteY47" fmla="*/ 4813086 h 5143500"/>
              <a:gd name="connsiteX48" fmla="*/ 666650 w 9143999"/>
              <a:gd name="connsiteY48" fmla="*/ 4813136 h 5143500"/>
              <a:gd name="connsiteX49" fmla="*/ 659335 w 9143999"/>
              <a:gd name="connsiteY49" fmla="*/ 4824699 h 5143500"/>
              <a:gd name="connsiteX50" fmla="*/ 659335 w 9143999"/>
              <a:gd name="connsiteY50" fmla="*/ 4944348 h 5143500"/>
              <a:gd name="connsiteX51" fmla="*/ 659777 w 9143999"/>
              <a:gd name="connsiteY51" fmla="*/ 4944785 h 5143500"/>
              <a:gd name="connsiteX52" fmla="*/ 659777 w 9143999"/>
              <a:gd name="connsiteY52" fmla="*/ 4944812 h 5143500"/>
              <a:gd name="connsiteX53" fmla="*/ 665593 w 9143999"/>
              <a:gd name="connsiteY53" fmla="*/ 4950628 h 5143500"/>
              <a:gd name="connsiteX54" fmla="*/ 691736 w 9143999"/>
              <a:gd name="connsiteY54" fmla="*/ 4950628 h 5143500"/>
              <a:gd name="connsiteX55" fmla="*/ 697552 w 9143999"/>
              <a:gd name="connsiteY55" fmla="*/ 4944812 h 5143500"/>
              <a:gd name="connsiteX56" fmla="*/ 697552 w 9143999"/>
              <a:gd name="connsiteY56" fmla="*/ 4847194 h 5143500"/>
              <a:gd name="connsiteX57" fmla="*/ 704448 w 9143999"/>
              <a:gd name="connsiteY57" fmla="*/ 4839717 h 5143500"/>
              <a:gd name="connsiteX58" fmla="*/ 726010 w 9143999"/>
              <a:gd name="connsiteY58" fmla="*/ 4837419 h 5143500"/>
              <a:gd name="connsiteX59" fmla="*/ 746013 w 9143999"/>
              <a:gd name="connsiteY59" fmla="*/ 4843168 h 5143500"/>
              <a:gd name="connsiteX60" fmla="*/ 754202 w 9143999"/>
              <a:gd name="connsiteY60" fmla="*/ 4862009 h 5143500"/>
              <a:gd name="connsiteX61" fmla="*/ 754202 w 9143999"/>
              <a:gd name="connsiteY61" fmla="*/ 4944812 h 5143500"/>
              <a:gd name="connsiteX62" fmla="*/ 760018 w 9143999"/>
              <a:gd name="connsiteY62" fmla="*/ 4950628 h 5143500"/>
              <a:gd name="connsiteX63" fmla="*/ 786160 w 9143999"/>
              <a:gd name="connsiteY63" fmla="*/ 4950628 h 5143500"/>
              <a:gd name="connsiteX64" fmla="*/ 791976 w 9143999"/>
              <a:gd name="connsiteY64" fmla="*/ 4944812 h 5143500"/>
              <a:gd name="connsiteX65" fmla="*/ 791976 w 9143999"/>
              <a:gd name="connsiteY65" fmla="*/ 4944762 h 5143500"/>
              <a:gd name="connsiteX66" fmla="*/ 792395 w 9143999"/>
              <a:gd name="connsiteY66" fmla="*/ 4944348 h 5143500"/>
              <a:gd name="connsiteX67" fmla="*/ 792395 w 9143999"/>
              <a:gd name="connsiteY67" fmla="*/ 4857065 h 5143500"/>
              <a:gd name="connsiteX68" fmla="*/ 775798 w 9143999"/>
              <a:gd name="connsiteY68" fmla="*/ 4816682 h 5143500"/>
              <a:gd name="connsiteX69" fmla="*/ 775543 w 9143999"/>
              <a:gd name="connsiteY69" fmla="*/ 4816611 h 5143500"/>
              <a:gd name="connsiteX70" fmla="*/ 775486 w 9143999"/>
              <a:gd name="connsiteY70" fmla="*/ 4816471 h 5143500"/>
              <a:gd name="connsiteX71" fmla="*/ 725443 w 9143999"/>
              <a:gd name="connsiteY71" fmla="*/ 4802455 h 5143500"/>
              <a:gd name="connsiteX72" fmla="*/ 559834 w 9143999"/>
              <a:gd name="connsiteY72" fmla="*/ 4802455 h 5143500"/>
              <a:gd name="connsiteX73" fmla="*/ 529662 w 9143999"/>
              <a:gd name="connsiteY73" fmla="*/ 4807762 h 5143500"/>
              <a:gd name="connsiteX74" fmla="*/ 529594 w 9143999"/>
              <a:gd name="connsiteY74" fmla="*/ 4807805 h 5143500"/>
              <a:gd name="connsiteX75" fmla="*/ 528372 w 9143999"/>
              <a:gd name="connsiteY75" fmla="*/ 4808018 h 5143500"/>
              <a:gd name="connsiteX76" fmla="*/ 483586 w 9143999"/>
              <a:gd name="connsiteY76" fmla="*/ 4877877 h 5143500"/>
              <a:gd name="connsiteX77" fmla="*/ 526397 w 9143999"/>
              <a:gd name="connsiteY77" fmla="*/ 4947825 h 5143500"/>
              <a:gd name="connsiteX78" fmla="*/ 527142 w 9143999"/>
              <a:gd name="connsiteY78" fmla="*/ 4947947 h 5143500"/>
              <a:gd name="connsiteX79" fmla="*/ 527700 w 9143999"/>
              <a:gd name="connsiteY79" fmla="*/ 4948307 h 5143500"/>
              <a:gd name="connsiteX80" fmla="*/ 559257 w 9143999"/>
              <a:gd name="connsiteY80" fmla="*/ 4953533 h 5143500"/>
              <a:gd name="connsiteX81" fmla="*/ 617069 w 9143999"/>
              <a:gd name="connsiteY81" fmla="*/ 4941908 h 5143500"/>
              <a:gd name="connsiteX82" fmla="*/ 624337 w 9143999"/>
              <a:gd name="connsiteY82" fmla="*/ 4930284 h 5143500"/>
              <a:gd name="connsiteX83" fmla="*/ 624337 w 9143999"/>
              <a:gd name="connsiteY83" fmla="*/ 4824821 h 5143500"/>
              <a:gd name="connsiteX84" fmla="*/ 617069 w 9143999"/>
              <a:gd name="connsiteY84" fmla="*/ 4813204 h 5143500"/>
              <a:gd name="connsiteX85" fmla="*/ 559834 w 9143999"/>
              <a:gd name="connsiteY85" fmla="*/ 4802455 h 5143500"/>
              <a:gd name="connsiteX86" fmla="*/ 398011 w 9143999"/>
              <a:gd name="connsiteY86" fmla="*/ 4801292 h 5143500"/>
              <a:gd name="connsiteX87" fmla="*/ 395922 w 9143999"/>
              <a:gd name="connsiteY87" fmla="*/ 4801589 h 5143500"/>
              <a:gd name="connsiteX88" fmla="*/ 395863 w 9143999"/>
              <a:gd name="connsiteY88" fmla="*/ 4801582 h 5143500"/>
              <a:gd name="connsiteX89" fmla="*/ 331528 w 9143999"/>
              <a:gd name="connsiteY89" fmla="*/ 4853603 h 5143500"/>
              <a:gd name="connsiteX90" fmla="*/ 425688 w 9143999"/>
              <a:gd name="connsiteY90" fmla="*/ 4933656 h 5143500"/>
              <a:gd name="connsiteX91" fmla="*/ 423936 w 9143999"/>
              <a:gd name="connsiteY91" fmla="*/ 4944348 h 5143500"/>
              <a:gd name="connsiteX92" fmla="*/ 423645 w 9143999"/>
              <a:gd name="connsiteY92" fmla="*/ 4946089 h 5143500"/>
              <a:gd name="connsiteX93" fmla="*/ 428029 w 9143999"/>
              <a:gd name="connsiteY93" fmla="*/ 4950134 h 5143500"/>
              <a:gd name="connsiteX94" fmla="*/ 429440 w 9143999"/>
              <a:gd name="connsiteY94" fmla="*/ 4950134 h 5143500"/>
              <a:gd name="connsiteX95" fmla="*/ 429969 w 9143999"/>
              <a:gd name="connsiteY95" fmla="*/ 4950628 h 5143500"/>
              <a:gd name="connsiteX96" fmla="*/ 456121 w 9143999"/>
              <a:gd name="connsiteY96" fmla="*/ 4950628 h 5143500"/>
              <a:gd name="connsiteX97" fmla="*/ 463668 w 9143999"/>
              <a:gd name="connsiteY97" fmla="*/ 4944812 h 5143500"/>
              <a:gd name="connsiteX98" fmla="*/ 465995 w 9143999"/>
              <a:gd name="connsiteY98" fmla="*/ 4928255 h 5143500"/>
              <a:gd name="connsiteX99" fmla="*/ 372445 w 9143999"/>
              <a:gd name="connsiteY99" fmla="*/ 4850972 h 5143500"/>
              <a:gd name="connsiteX100" fmla="*/ 378874 w 9143999"/>
              <a:gd name="connsiteY100" fmla="*/ 4840371 h 5143500"/>
              <a:gd name="connsiteX101" fmla="*/ 395404 w 9143999"/>
              <a:gd name="connsiteY101" fmla="*/ 4836760 h 5143500"/>
              <a:gd name="connsiteX102" fmla="*/ 438848 w 9143999"/>
              <a:gd name="connsiteY102" fmla="*/ 4849557 h 5143500"/>
              <a:gd name="connsiteX103" fmla="*/ 443232 w 9143999"/>
              <a:gd name="connsiteY103" fmla="*/ 4850714 h 5143500"/>
              <a:gd name="connsiteX104" fmla="*/ 443815 w 9143999"/>
              <a:gd name="connsiteY104" fmla="*/ 4850347 h 5143500"/>
              <a:gd name="connsiteX105" fmla="*/ 445074 w 9143999"/>
              <a:gd name="connsiteY105" fmla="*/ 4850684 h 5143500"/>
              <a:gd name="connsiteX106" fmla="*/ 451467 w 9143999"/>
              <a:gd name="connsiteY106" fmla="*/ 4846616 h 5143500"/>
              <a:gd name="connsiteX107" fmla="*/ 460476 w 9143999"/>
              <a:gd name="connsiteY107" fmla="*/ 4827435 h 5143500"/>
              <a:gd name="connsiteX108" fmla="*/ 461639 w 9143999"/>
              <a:gd name="connsiteY108" fmla="*/ 4822502 h 5143500"/>
              <a:gd name="connsiteX109" fmla="*/ 458150 w 9143999"/>
              <a:gd name="connsiteY109" fmla="*/ 4816686 h 5143500"/>
              <a:gd name="connsiteX110" fmla="*/ 398011 w 9143999"/>
              <a:gd name="connsiteY110" fmla="*/ 4801292 h 5143500"/>
              <a:gd name="connsiteX111" fmla="*/ 1053743 w 9143999"/>
              <a:gd name="connsiteY111" fmla="*/ 4747249 h 5143500"/>
              <a:gd name="connsiteX112" fmla="*/ 994181 w 9143999"/>
              <a:gd name="connsiteY112" fmla="*/ 4808264 h 5143500"/>
              <a:gd name="connsiteX113" fmla="*/ 994181 w 9143999"/>
              <a:gd name="connsiteY113" fmla="*/ 4944812 h 5143500"/>
              <a:gd name="connsiteX114" fmla="*/ 999997 w 9143999"/>
              <a:gd name="connsiteY114" fmla="*/ 4950628 h 5143500"/>
              <a:gd name="connsiteX115" fmla="*/ 1025851 w 9143999"/>
              <a:gd name="connsiteY115" fmla="*/ 4950628 h 5143500"/>
              <a:gd name="connsiteX116" fmla="*/ 1026345 w 9143999"/>
              <a:gd name="connsiteY116" fmla="*/ 4950134 h 5143500"/>
              <a:gd name="connsiteX117" fmla="*/ 1027794 w 9143999"/>
              <a:gd name="connsiteY117" fmla="*/ 4950134 h 5143500"/>
              <a:gd name="connsiteX118" fmla="*/ 1033639 w 9143999"/>
              <a:gd name="connsiteY118" fmla="*/ 4944348 h 5143500"/>
              <a:gd name="connsiteX119" fmla="*/ 1033639 w 9143999"/>
              <a:gd name="connsiteY119" fmla="*/ 4837419 h 5143500"/>
              <a:gd name="connsiteX120" fmla="*/ 1070780 w 9143999"/>
              <a:gd name="connsiteY120" fmla="*/ 4837419 h 5143500"/>
              <a:gd name="connsiteX121" fmla="*/ 1076625 w 9143999"/>
              <a:gd name="connsiteY121" fmla="*/ 4831634 h 5143500"/>
              <a:gd name="connsiteX122" fmla="*/ 1076625 w 9143999"/>
              <a:gd name="connsiteY122" fmla="*/ 4811692 h 5143500"/>
              <a:gd name="connsiteX123" fmla="*/ 1070780 w 9143999"/>
              <a:gd name="connsiteY123" fmla="*/ 4805627 h 5143500"/>
              <a:gd name="connsiteX124" fmla="*/ 1068815 w 9143999"/>
              <a:gd name="connsiteY124" fmla="*/ 4805627 h 5143500"/>
              <a:gd name="connsiteX125" fmla="*/ 1068559 w 9143999"/>
              <a:gd name="connsiteY125" fmla="*/ 4805359 h 5143500"/>
              <a:gd name="connsiteX126" fmla="*/ 1033639 w 9143999"/>
              <a:gd name="connsiteY126" fmla="*/ 4805359 h 5143500"/>
              <a:gd name="connsiteX127" fmla="*/ 1033639 w 9143999"/>
              <a:gd name="connsiteY127" fmla="*/ 4802443 h 5143500"/>
              <a:gd name="connsiteX128" fmla="*/ 1056748 w 9143999"/>
              <a:gd name="connsiteY128" fmla="*/ 4778457 h 5143500"/>
              <a:gd name="connsiteX129" fmla="*/ 1071071 w 9143999"/>
              <a:gd name="connsiteY129" fmla="*/ 4779901 h 5143500"/>
              <a:gd name="connsiteX130" fmla="*/ 1076625 w 9143999"/>
              <a:gd name="connsiteY130" fmla="*/ 4774411 h 5143500"/>
              <a:gd name="connsiteX131" fmla="*/ 1079556 w 9143999"/>
              <a:gd name="connsiteY131" fmla="*/ 4759385 h 5143500"/>
              <a:gd name="connsiteX132" fmla="*/ 1080138 w 9143999"/>
              <a:gd name="connsiteY132" fmla="*/ 4755627 h 5143500"/>
              <a:gd name="connsiteX133" fmla="*/ 1074293 w 9143999"/>
              <a:gd name="connsiteY133" fmla="*/ 4749848 h 5143500"/>
              <a:gd name="connsiteX134" fmla="*/ 1072404 w 9143999"/>
              <a:gd name="connsiteY134" fmla="*/ 4749641 h 5143500"/>
              <a:gd name="connsiteX135" fmla="*/ 1072049 w 9143999"/>
              <a:gd name="connsiteY135" fmla="*/ 4749285 h 5143500"/>
              <a:gd name="connsiteX136" fmla="*/ 1053743 w 9143999"/>
              <a:gd name="connsiteY136" fmla="*/ 4747249 h 5143500"/>
              <a:gd name="connsiteX137" fmla="*/ 1115151 w 9143999"/>
              <a:gd name="connsiteY137" fmla="*/ 4747131 h 5143500"/>
              <a:gd name="connsiteX138" fmla="*/ 1095104 w 9143999"/>
              <a:gd name="connsiteY138" fmla="*/ 4767478 h 5143500"/>
              <a:gd name="connsiteX139" fmla="*/ 1116017 w 9143999"/>
              <a:gd name="connsiteY139" fmla="*/ 4787818 h 5143500"/>
              <a:gd name="connsiteX140" fmla="*/ 1136065 w 9143999"/>
              <a:gd name="connsiteY140" fmla="*/ 4767481 h 5143500"/>
              <a:gd name="connsiteX141" fmla="*/ 1115151 w 9143999"/>
              <a:gd name="connsiteY141" fmla="*/ 4747131 h 5143500"/>
              <a:gd name="connsiteX142" fmla="*/ 0 w 9143999"/>
              <a:gd name="connsiteY142" fmla="*/ 0 h 5143500"/>
              <a:gd name="connsiteX143" fmla="*/ 9143999 w 9143999"/>
              <a:gd name="connsiteY143" fmla="*/ 0 h 5143500"/>
              <a:gd name="connsiteX144" fmla="*/ 9143999 w 9143999"/>
              <a:gd name="connsiteY144" fmla="*/ 5143500 h 5143500"/>
              <a:gd name="connsiteX145" fmla="*/ 0 w 9143999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9143999" h="5143500">
                <a:moveTo>
                  <a:pt x="351363" y="4913481"/>
                </a:moveTo>
                <a:cubicBezTo>
                  <a:pt x="339456" y="4913486"/>
                  <a:pt x="331612" y="4921037"/>
                  <a:pt x="331613" y="4933530"/>
                </a:cubicBezTo>
                <a:cubicBezTo>
                  <a:pt x="331608" y="4945734"/>
                  <a:pt x="339456" y="4953580"/>
                  <a:pt x="352237" y="4953582"/>
                </a:cubicBezTo>
                <a:cubicBezTo>
                  <a:pt x="364153" y="4953577"/>
                  <a:pt x="371990" y="4945737"/>
                  <a:pt x="371987" y="4933533"/>
                </a:cubicBezTo>
                <a:cubicBezTo>
                  <a:pt x="371996" y="4921039"/>
                  <a:pt x="364153" y="4913482"/>
                  <a:pt x="351363" y="4913481"/>
                </a:cubicBezTo>
                <a:close/>
                <a:moveTo>
                  <a:pt x="892593" y="4837587"/>
                </a:moveTo>
                <a:lnTo>
                  <a:pt x="917846" y="4847631"/>
                </a:lnTo>
                <a:cubicBezTo>
                  <a:pt x="924091" y="4854457"/>
                  <a:pt x="927648" y="4864625"/>
                  <a:pt x="927648" y="4877990"/>
                </a:cubicBezTo>
                <a:cubicBezTo>
                  <a:pt x="927648" y="4891355"/>
                  <a:pt x="924091" y="4901524"/>
                  <a:pt x="918100" y="4908353"/>
                </a:cubicBezTo>
                <a:lnTo>
                  <a:pt x="894866" y="4918277"/>
                </a:lnTo>
                <a:lnTo>
                  <a:pt x="868933" y="4908080"/>
                </a:lnTo>
                <a:cubicBezTo>
                  <a:pt x="862645" y="4901288"/>
                  <a:pt x="859062" y="4891172"/>
                  <a:pt x="859062" y="4877877"/>
                </a:cubicBezTo>
                <a:cubicBezTo>
                  <a:pt x="859062" y="4864582"/>
                  <a:pt x="862645" y="4854468"/>
                  <a:pt x="868678" y="4847677"/>
                </a:cubicBezTo>
                <a:close/>
                <a:moveTo>
                  <a:pt x="559057" y="4837499"/>
                </a:moveTo>
                <a:lnTo>
                  <a:pt x="578336" y="4840021"/>
                </a:lnTo>
                <a:cubicBezTo>
                  <a:pt x="583309" y="4841465"/>
                  <a:pt x="585643" y="4843483"/>
                  <a:pt x="585643" y="4847817"/>
                </a:cubicBezTo>
                <a:lnTo>
                  <a:pt x="585643" y="4907937"/>
                </a:lnTo>
                <a:cubicBezTo>
                  <a:pt x="585643" y="4912270"/>
                  <a:pt x="583309" y="4914296"/>
                  <a:pt x="578336" y="4915741"/>
                </a:cubicBezTo>
                <a:lnTo>
                  <a:pt x="558605" y="4918322"/>
                </a:lnTo>
                <a:lnTo>
                  <a:pt x="534559" y="4909442"/>
                </a:lnTo>
                <a:cubicBezTo>
                  <a:pt x="527877" y="4902976"/>
                  <a:pt x="523519" y="4892806"/>
                  <a:pt x="523519" y="4877990"/>
                </a:cubicBezTo>
                <a:cubicBezTo>
                  <a:pt x="523519" y="4863173"/>
                  <a:pt x="527877" y="4853005"/>
                  <a:pt x="534559" y="4846542"/>
                </a:cubicBezTo>
                <a:close/>
                <a:moveTo>
                  <a:pt x="1101680" y="4805359"/>
                </a:moveTo>
                <a:cubicBezTo>
                  <a:pt x="1098192" y="4805359"/>
                  <a:pt x="1095864" y="4807677"/>
                  <a:pt x="1095864" y="4811167"/>
                </a:cubicBezTo>
                <a:lnTo>
                  <a:pt x="1095864" y="4944812"/>
                </a:lnTo>
                <a:cubicBezTo>
                  <a:pt x="1095864" y="4948301"/>
                  <a:pt x="1098192" y="4950628"/>
                  <a:pt x="1101680" y="4950628"/>
                </a:cubicBezTo>
                <a:lnTo>
                  <a:pt x="1127823" y="4950628"/>
                </a:lnTo>
                <a:lnTo>
                  <a:pt x="1128318" y="4950134"/>
                </a:lnTo>
                <a:lnTo>
                  <a:pt x="1130431" y="4950134"/>
                </a:lnTo>
                <a:cubicBezTo>
                  <a:pt x="1133944" y="4950134"/>
                  <a:pt x="1136285" y="4947819"/>
                  <a:pt x="1136285" y="4944348"/>
                </a:cubicBezTo>
                <a:lnTo>
                  <a:pt x="1136285" y="4811405"/>
                </a:lnTo>
                <a:cubicBezTo>
                  <a:pt x="1136285" y="4807934"/>
                  <a:pt x="1133944" y="4805627"/>
                  <a:pt x="1130431" y="4805627"/>
                </a:cubicBezTo>
                <a:lnTo>
                  <a:pt x="1128092" y="4805627"/>
                </a:lnTo>
                <a:lnTo>
                  <a:pt x="1127823" y="4805359"/>
                </a:lnTo>
                <a:close/>
                <a:moveTo>
                  <a:pt x="891920" y="4802455"/>
                </a:moveTo>
                <a:cubicBezTo>
                  <a:pt x="848337" y="4802455"/>
                  <a:pt x="819859" y="4834118"/>
                  <a:pt x="819859" y="4877990"/>
                </a:cubicBezTo>
                <a:cubicBezTo>
                  <a:pt x="819859" y="4921862"/>
                  <a:pt x="848337" y="4953533"/>
                  <a:pt x="893949" y="4953533"/>
                </a:cubicBezTo>
                <a:cubicBezTo>
                  <a:pt x="904845" y="4953533"/>
                  <a:pt x="914796" y="4951553"/>
                  <a:pt x="923593" y="4947899"/>
                </a:cubicBezTo>
                <a:lnTo>
                  <a:pt x="924071" y="4947569"/>
                </a:lnTo>
                <a:lnTo>
                  <a:pt x="924870" y="4947419"/>
                </a:lnTo>
                <a:cubicBezTo>
                  <a:pt x="951435" y="4936512"/>
                  <a:pt x="967553" y="4910608"/>
                  <a:pt x="967553" y="4877877"/>
                </a:cubicBezTo>
                <a:cubicBezTo>
                  <a:pt x="967553" y="4845146"/>
                  <a:pt x="951435" y="4819246"/>
                  <a:pt x="924008" y="4808342"/>
                </a:cubicBezTo>
                <a:lnTo>
                  <a:pt x="922787" y="4808121"/>
                </a:lnTo>
                <a:lnTo>
                  <a:pt x="922737" y="4808088"/>
                </a:lnTo>
                <a:cubicBezTo>
                  <a:pt x="913654" y="4804434"/>
                  <a:pt x="903323" y="4802455"/>
                  <a:pt x="891920" y="4802455"/>
                </a:cubicBezTo>
                <a:close/>
                <a:moveTo>
                  <a:pt x="725443" y="4802455"/>
                </a:moveTo>
                <a:cubicBezTo>
                  <a:pt x="708301" y="4802455"/>
                  <a:pt x="688255" y="4805359"/>
                  <a:pt x="667045" y="4812907"/>
                </a:cubicBezTo>
                <a:lnTo>
                  <a:pt x="666933" y="4813086"/>
                </a:lnTo>
                <a:lnTo>
                  <a:pt x="666650" y="4813136"/>
                </a:lnTo>
                <a:cubicBezTo>
                  <a:pt x="662556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7" y="4944785"/>
                </a:lnTo>
                <a:lnTo>
                  <a:pt x="659777" y="4944812"/>
                </a:lnTo>
                <a:cubicBezTo>
                  <a:pt x="659777" y="4948301"/>
                  <a:pt x="662103" y="4950628"/>
                  <a:pt x="665593" y="4950628"/>
                </a:cubicBezTo>
                <a:lnTo>
                  <a:pt x="691736" y="4950628"/>
                </a:lnTo>
                <a:cubicBezTo>
                  <a:pt x="695225" y="4950628"/>
                  <a:pt x="697552" y="4948301"/>
                  <a:pt x="697552" y="4944812"/>
                </a:cubicBezTo>
                <a:lnTo>
                  <a:pt x="697552" y="4847194"/>
                </a:lnTo>
                <a:lnTo>
                  <a:pt x="704448" y="4839717"/>
                </a:lnTo>
                <a:lnTo>
                  <a:pt x="726010" y="4837419"/>
                </a:lnTo>
                <a:lnTo>
                  <a:pt x="746013" y="4843168"/>
                </a:lnTo>
                <a:lnTo>
                  <a:pt x="754202" y="4862009"/>
                </a:lnTo>
                <a:lnTo>
                  <a:pt x="754202" y="4944812"/>
                </a:lnTo>
                <a:cubicBezTo>
                  <a:pt x="754202" y="4948301"/>
                  <a:pt x="756528" y="4950628"/>
                  <a:pt x="760018" y="4950628"/>
                </a:cubicBezTo>
                <a:lnTo>
                  <a:pt x="786160" y="4950628"/>
                </a:lnTo>
                <a:cubicBezTo>
                  <a:pt x="789650" y="4950628"/>
                  <a:pt x="791976" y="4948301"/>
                  <a:pt x="791976" y="4944812"/>
                </a:cubicBezTo>
                <a:lnTo>
                  <a:pt x="791976" y="4944762"/>
                </a:lnTo>
                <a:lnTo>
                  <a:pt x="792395" y="4944348"/>
                </a:lnTo>
                <a:lnTo>
                  <a:pt x="792395" y="4857065"/>
                </a:lnTo>
                <a:cubicBezTo>
                  <a:pt x="792395" y="4839438"/>
                  <a:pt x="786911" y="4825856"/>
                  <a:pt x="775798" y="4816682"/>
                </a:cubicBezTo>
                <a:lnTo>
                  <a:pt x="775543" y="4816611"/>
                </a:lnTo>
                <a:lnTo>
                  <a:pt x="775486" y="4816471"/>
                </a:lnTo>
                <a:cubicBezTo>
                  <a:pt x="764445" y="4807248"/>
                  <a:pt x="747812" y="4802455"/>
                  <a:pt x="725443" y="4802455"/>
                </a:cubicBezTo>
                <a:close/>
                <a:moveTo>
                  <a:pt x="559834" y="4802455"/>
                </a:moveTo>
                <a:cubicBezTo>
                  <a:pt x="548868" y="4802455"/>
                  <a:pt x="538719" y="4804289"/>
                  <a:pt x="529662" y="4807762"/>
                </a:cubicBezTo>
                <a:lnTo>
                  <a:pt x="529594" y="4807805"/>
                </a:lnTo>
                <a:lnTo>
                  <a:pt x="528372" y="4808018"/>
                </a:lnTo>
                <a:cubicBezTo>
                  <a:pt x="501027" y="4818381"/>
                  <a:pt x="483586" y="4843416"/>
                  <a:pt x="483586" y="4877877"/>
                </a:cubicBezTo>
                <a:cubicBezTo>
                  <a:pt x="483586" y="4912775"/>
                  <a:pt x="498720" y="4937596"/>
                  <a:pt x="526397" y="4947825"/>
                </a:cubicBezTo>
                <a:lnTo>
                  <a:pt x="527142" y="4947947"/>
                </a:lnTo>
                <a:lnTo>
                  <a:pt x="527700" y="4948307"/>
                </a:lnTo>
                <a:cubicBezTo>
                  <a:pt x="536866" y="4951735"/>
                  <a:pt x="547417" y="4953533"/>
                  <a:pt x="559257" y="4953533"/>
                </a:cubicBezTo>
                <a:cubicBezTo>
                  <a:pt x="578428" y="4953533"/>
                  <a:pt x="597022" y="4950331"/>
                  <a:pt x="617069" y="4941908"/>
                </a:cubicBezTo>
                <a:cubicBezTo>
                  <a:pt x="621722" y="4939879"/>
                  <a:pt x="624337" y="4936678"/>
                  <a:pt x="624337" y="4930284"/>
                </a:cubicBezTo>
                <a:lnTo>
                  <a:pt x="624337" y="4824821"/>
                </a:lnTo>
                <a:cubicBezTo>
                  <a:pt x="624337" y="4818138"/>
                  <a:pt x="621722" y="4814946"/>
                  <a:pt x="617069" y="4813204"/>
                </a:cubicBezTo>
                <a:cubicBezTo>
                  <a:pt x="597898" y="4805936"/>
                  <a:pt x="579880" y="4802455"/>
                  <a:pt x="559834" y="4802455"/>
                </a:cubicBezTo>
                <a:close/>
                <a:moveTo>
                  <a:pt x="398011" y="4801292"/>
                </a:moveTo>
                <a:lnTo>
                  <a:pt x="395922" y="4801589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6" y="4940590"/>
                  <a:pt x="423936" y="4944348"/>
                </a:cubicBezTo>
                <a:cubicBezTo>
                  <a:pt x="423645" y="4944931"/>
                  <a:pt x="423645" y="4945505"/>
                  <a:pt x="423645" y="4946089"/>
                </a:cubicBezTo>
                <a:cubicBezTo>
                  <a:pt x="423645" y="4948394"/>
                  <a:pt x="425106" y="4950134"/>
                  <a:pt x="428029" y="4950134"/>
                </a:cubicBezTo>
                <a:lnTo>
                  <a:pt x="429440" y="4950134"/>
                </a:lnTo>
                <a:lnTo>
                  <a:pt x="429969" y="4950628"/>
                </a:lnTo>
                <a:lnTo>
                  <a:pt x="456121" y="4950628"/>
                </a:lnTo>
                <a:cubicBezTo>
                  <a:pt x="460476" y="4950628"/>
                  <a:pt x="462216" y="4949176"/>
                  <a:pt x="463668" y="4944812"/>
                </a:cubicBezTo>
                <a:cubicBezTo>
                  <a:pt x="465418" y="4939879"/>
                  <a:pt x="465995" y="4933196"/>
                  <a:pt x="465995" y="4928255"/>
                </a:cubicBezTo>
                <a:cubicBezTo>
                  <a:pt x="465995" y="4862299"/>
                  <a:pt x="372445" y="4878177"/>
                  <a:pt x="372445" y="4850972"/>
                </a:cubicBezTo>
                <a:cubicBezTo>
                  <a:pt x="372445" y="4846523"/>
                  <a:pt x="374698" y="4842891"/>
                  <a:pt x="378874" y="4840371"/>
                </a:cubicBezTo>
                <a:lnTo>
                  <a:pt x="395404" y="4836760"/>
                </a:lnTo>
                <a:lnTo>
                  <a:pt x="438848" y="4849557"/>
                </a:lnTo>
                <a:cubicBezTo>
                  <a:pt x="440310" y="4850418"/>
                  <a:pt x="441771" y="4850714"/>
                  <a:pt x="443232" y="4850714"/>
                </a:cubicBezTo>
                <a:lnTo>
                  <a:pt x="443815" y="4850347"/>
                </a:lnTo>
                <a:lnTo>
                  <a:pt x="445074" y="4850684"/>
                </a:lnTo>
                <a:cubicBezTo>
                  <a:pt x="447689" y="4850684"/>
                  <a:pt x="450305" y="4849231"/>
                  <a:pt x="451467" y="4846616"/>
                </a:cubicBezTo>
                <a:lnTo>
                  <a:pt x="460476" y="4827435"/>
                </a:lnTo>
                <a:cubicBezTo>
                  <a:pt x="461317" y="4825652"/>
                  <a:pt x="461639" y="4823954"/>
                  <a:pt x="461639" y="4822502"/>
                </a:cubicBezTo>
                <a:cubicBezTo>
                  <a:pt x="461639" y="4820176"/>
                  <a:pt x="460485" y="4817858"/>
                  <a:pt x="458150" y="4816686"/>
                </a:cubicBezTo>
                <a:cubicBezTo>
                  <a:pt x="440141" y="4806226"/>
                  <a:pt x="418635" y="4801292"/>
                  <a:pt x="398011" y="4801292"/>
                </a:cubicBezTo>
                <a:close/>
                <a:moveTo>
                  <a:pt x="1053743" y="4747249"/>
                </a:moveTo>
                <a:cubicBezTo>
                  <a:pt x="1017717" y="4747249"/>
                  <a:pt x="994181" y="4766420"/>
                  <a:pt x="994181" y="4808264"/>
                </a:cubicBezTo>
                <a:lnTo>
                  <a:pt x="994181" y="4944812"/>
                </a:lnTo>
                <a:cubicBezTo>
                  <a:pt x="994181" y="4948301"/>
                  <a:pt x="996508" y="4950628"/>
                  <a:pt x="999997" y="4950628"/>
                </a:cubicBezTo>
                <a:lnTo>
                  <a:pt x="1025851" y="4950628"/>
                </a:lnTo>
                <a:lnTo>
                  <a:pt x="1026345" y="4950134"/>
                </a:lnTo>
                <a:lnTo>
                  <a:pt x="1027794" y="4950134"/>
                </a:lnTo>
                <a:cubicBezTo>
                  <a:pt x="1031306" y="4950134"/>
                  <a:pt x="1033639" y="4947819"/>
                  <a:pt x="1033639" y="4944348"/>
                </a:cubicBezTo>
                <a:lnTo>
                  <a:pt x="1033639" y="4837419"/>
                </a:lnTo>
                <a:lnTo>
                  <a:pt x="1070780" y="4837419"/>
                </a:lnTo>
                <a:cubicBezTo>
                  <a:pt x="1074584" y="4837419"/>
                  <a:pt x="1076625" y="4835105"/>
                  <a:pt x="1076625" y="4831634"/>
                </a:cubicBezTo>
                <a:lnTo>
                  <a:pt x="1076625" y="4811692"/>
                </a:lnTo>
                <a:cubicBezTo>
                  <a:pt x="1076625" y="4807934"/>
                  <a:pt x="1074584" y="4805627"/>
                  <a:pt x="1070780" y="4805627"/>
                </a:cubicBezTo>
                <a:lnTo>
                  <a:pt x="1068815" y="4805627"/>
                </a:lnTo>
                <a:lnTo>
                  <a:pt x="1068559" y="4805359"/>
                </a:lnTo>
                <a:lnTo>
                  <a:pt x="1033639" y="4805359"/>
                </a:lnTo>
                <a:lnTo>
                  <a:pt x="1033639" y="4802443"/>
                </a:lnTo>
                <a:cubicBezTo>
                  <a:pt x="1033639" y="4786548"/>
                  <a:pt x="1040663" y="4778457"/>
                  <a:pt x="1056748" y="4778457"/>
                </a:cubicBezTo>
                <a:cubicBezTo>
                  <a:pt x="1062593" y="4778457"/>
                  <a:pt x="1068892" y="4779901"/>
                  <a:pt x="1071071" y="4779901"/>
                </a:cubicBezTo>
                <a:cubicBezTo>
                  <a:pt x="1074584" y="4779901"/>
                  <a:pt x="1076045" y="4777882"/>
                  <a:pt x="1076625" y="4774411"/>
                </a:cubicBezTo>
                <a:lnTo>
                  <a:pt x="1079556" y="4759385"/>
                </a:lnTo>
                <a:cubicBezTo>
                  <a:pt x="1079813" y="4758050"/>
                  <a:pt x="1080138" y="4756876"/>
                  <a:pt x="1080138" y="4755627"/>
                </a:cubicBezTo>
                <a:cubicBezTo>
                  <a:pt x="1080138" y="4752417"/>
                  <a:pt x="1078386" y="4750711"/>
                  <a:pt x="1074293" y="4749848"/>
                </a:cubicBezTo>
                <a:lnTo>
                  <a:pt x="1072404" y="4749641"/>
                </a:lnTo>
                <a:lnTo>
                  <a:pt x="1072049" y="4749285"/>
                </a:lnTo>
                <a:cubicBezTo>
                  <a:pt x="1066232" y="4747834"/>
                  <a:pt x="1059941" y="4747249"/>
                  <a:pt x="1053743" y="4747249"/>
                </a:cubicBezTo>
                <a:close/>
                <a:moveTo>
                  <a:pt x="1115151" y="4747131"/>
                </a:moveTo>
                <a:cubicBezTo>
                  <a:pt x="1102947" y="4747139"/>
                  <a:pt x="1095102" y="4754688"/>
                  <a:pt x="1095104" y="4767478"/>
                </a:cubicBezTo>
                <a:cubicBezTo>
                  <a:pt x="1095101" y="4779971"/>
                  <a:pt x="1102947" y="4787811"/>
                  <a:pt x="1116017" y="4787818"/>
                </a:cubicBezTo>
                <a:cubicBezTo>
                  <a:pt x="1127933" y="4787817"/>
                  <a:pt x="1136070" y="4779974"/>
                  <a:pt x="1136065" y="4767481"/>
                </a:cubicBezTo>
                <a:cubicBezTo>
                  <a:pt x="1136070" y="4754690"/>
                  <a:pt x="1127933" y="4747137"/>
                  <a:pt x="1115151" y="4747131"/>
                </a:cubicBezTo>
                <a:close/>
                <a:moveTo>
                  <a:pt x="0" y="0"/>
                </a:moveTo>
                <a:lnTo>
                  <a:pt x="9143999" y="0"/>
                </a:lnTo>
                <a:lnTo>
                  <a:pt x="9143999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0B90B88F-38E1-44C8-9D6F-1A9BFFE001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778558" y="2915364"/>
            <a:ext cx="4949741" cy="1399251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333"/>
              </a:spcAft>
              <a:defRPr lang="fr-FR" sz="4800" b="0" i="1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marL="0" indent="0" algn="l">
              <a:lnSpc>
                <a:spcPct val="90000"/>
              </a:lnSpc>
              <a:buFont typeface="Arial" panose="020B0604020202020204" pitchFamily="34" charset="0"/>
              <a:buNone/>
              <a:defRPr lang="en-US" sz="4800" b="0" i="1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333"/>
              </a:spcBef>
              <a:defRPr sz="1867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marL="761981" lvl="0" indent="-761981" algn="l" defTabSz="914377" rtl="0" eaLnBrk="1" latinLnBrk="0" hangingPunct="1">
              <a:lnSpc>
                <a:spcPct val="90000"/>
              </a:lnSpc>
              <a:spcBef>
                <a:spcPts val="0"/>
              </a:spcBef>
            </a:pPr>
            <a:r>
              <a:rPr lang="en-US" noProof="0"/>
              <a:t>Click to edit Master text styles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9F6585BF-F3F3-4500-9CFA-EF0D9041ED5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778558" y="4395893"/>
            <a:ext cx="4949741" cy="710532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333"/>
              </a:spcAft>
              <a:defRPr lang="fr-FR" sz="1867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algn="l">
              <a:lnSpc>
                <a:spcPct val="90000"/>
              </a:lnSpc>
              <a:defRPr lang="en-US" sz="1867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333"/>
              </a:spcBef>
              <a:defRPr lang="en-US" sz="1867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marL="0" lvl="0" indent="0" algn="l" defTabSz="914377" rtl="0" eaLnBrk="1" latinLnBrk="0" hangingPunct="1">
              <a:lnSpc>
                <a:spcPct val="100000"/>
              </a:lnSpc>
              <a:spcBef>
                <a:spcPts val="1333"/>
              </a:spcBef>
              <a:buFont typeface="Arial" panose="020B0604020202020204" pitchFamily="34" charset="0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FB220A98-FE22-4FE9-AB26-E269403DC28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778558" y="1792928"/>
            <a:ext cx="4949741" cy="939945"/>
          </a:xfrm>
        </p:spPr>
        <p:txBody>
          <a:bodyPr anchor="b">
            <a:noAutofit/>
          </a:bodyPr>
          <a:lstStyle>
            <a:lvl1pPr algn="l">
              <a:lnSpc>
                <a:spcPct val="96000"/>
              </a:lnSpc>
              <a:spcAft>
                <a:spcPts val="1333"/>
              </a:spcAft>
              <a:defRPr lang="fr-FR" sz="2933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90000"/>
              </a:lnSpc>
              <a:defRPr sz="4800" b="0" i="1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333"/>
              </a:spcBef>
              <a:defRPr sz="1867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6" name="Graphique 7">
            <a:extLst>
              <a:ext uri="{FF2B5EF4-FFF2-40B4-BE49-F238E27FC236}">
                <a16:creationId xmlns:a16="http://schemas.microsoft.com/office/drawing/2014/main" id="{2473C403-3091-45DA-8311-8B80BACBDD7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27" name="Forme libre : forme 9">
              <a:extLst>
                <a:ext uri="{FF2B5EF4-FFF2-40B4-BE49-F238E27FC236}">
                  <a16:creationId xmlns:a16="http://schemas.microsoft.com/office/drawing/2014/main" id="{9A66E28E-1ED8-413A-86AB-392723C99535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" name="Forme libre : forme 10">
              <a:extLst>
                <a:ext uri="{FF2B5EF4-FFF2-40B4-BE49-F238E27FC236}">
                  <a16:creationId xmlns:a16="http://schemas.microsoft.com/office/drawing/2014/main" id="{332EEDE0-E68F-49D3-A74F-33347ECF61BC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29" name="Forme libre : forme 11">
              <a:extLst>
                <a:ext uri="{FF2B5EF4-FFF2-40B4-BE49-F238E27FC236}">
                  <a16:creationId xmlns:a16="http://schemas.microsoft.com/office/drawing/2014/main" id="{3EA6B076-5413-42E1-95D1-72C23C1D4D5B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49477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next t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5C5F3432-6FAD-4E94-8F10-E3A9F6458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351364 w 4572000"/>
              <a:gd name="connsiteY0" fmla="*/ 4913481 h 5143500"/>
              <a:gd name="connsiteX1" fmla="*/ 331614 w 4572000"/>
              <a:gd name="connsiteY1" fmla="*/ 4933530 h 5143500"/>
              <a:gd name="connsiteX2" fmla="*/ 352238 w 4572000"/>
              <a:gd name="connsiteY2" fmla="*/ 4953582 h 5143500"/>
              <a:gd name="connsiteX3" fmla="*/ 371988 w 4572000"/>
              <a:gd name="connsiteY3" fmla="*/ 4933533 h 5143500"/>
              <a:gd name="connsiteX4" fmla="*/ 351364 w 4572000"/>
              <a:gd name="connsiteY4" fmla="*/ 4913481 h 5143500"/>
              <a:gd name="connsiteX5" fmla="*/ 892594 w 4572000"/>
              <a:gd name="connsiteY5" fmla="*/ 4837587 h 5143500"/>
              <a:gd name="connsiteX6" fmla="*/ 917847 w 4572000"/>
              <a:gd name="connsiteY6" fmla="*/ 4847631 h 5143500"/>
              <a:gd name="connsiteX7" fmla="*/ 927649 w 4572000"/>
              <a:gd name="connsiteY7" fmla="*/ 4877990 h 5143500"/>
              <a:gd name="connsiteX8" fmla="*/ 918101 w 4572000"/>
              <a:gd name="connsiteY8" fmla="*/ 4908353 h 5143500"/>
              <a:gd name="connsiteX9" fmla="*/ 894867 w 4572000"/>
              <a:gd name="connsiteY9" fmla="*/ 4918277 h 5143500"/>
              <a:gd name="connsiteX10" fmla="*/ 868934 w 4572000"/>
              <a:gd name="connsiteY10" fmla="*/ 4908080 h 5143500"/>
              <a:gd name="connsiteX11" fmla="*/ 859063 w 4572000"/>
              <a:gd name="connsiteY11" fmla="*/ 4877877 h 5143500"/>
              <a:gd name="connsiteX12" fmla="*/ 868679 w 4572000"/>
              <a:gd name="connsiteY12" fmla="*/ 4847677 h 5143500"/>
              <a:gd name="connsiteX13" fmla="*/ 559058 w 4572000"/>
              <a:gd name="connsiteY13" fmla="*/ 4837499 h 5143500"/>
              <a:gd name="connsiteX14" fmla="*/ 578337 w 4572000"/>
              <a:gd name="connsiteY14" fmla="*/ 4840021 h 5143500"/>
              <a:gd name="connsiteX15" fmla="*/ 585644 w 4572000"/>
              <a:gd name="connsiteY15" fmla="*/ 4847817 h 5143500"/>
              <a:gd name="connsiteX16" fmla="*/ 585644 w 4572000"/>
              <a:gd name="connsiteY16" fmla="*/ 4907937 h 5143500"/>
              <a:gd name="connsiteX17" fmla="*/ 578337 w 4572000"/>
              <a:gd name="connsiteY17" fmla="*/ 4915741 h 5143500"/>
              <a:gd name="connsiteX18" fmla="*/ 558606 w 4572000"/>
              <a:gd name="connsiteY18" fmla="*/ 4918322 h 5143500"/>
              <a:gd name="connsiteX19" fmla="*/ 534560 w 4572000"/>
              <a:gd name="connsiteY19" fmla="*/ 4909442 h 5143500"/>
              <a:gd name="connsiteX20" fmla="*/ 523520 w 4572000"/>
              <a:gd name="connsiteY20" fmla="*/ 4877990 h 5143500"/>
              <a:gd name="connsiteX21" fmla="*/ 534560 w 4572000"/>
              <a:gd name="connsiteY21" fmla="*/ 4846542 h 5143500"/>
              <a:gd name="connsiteX22" fmla="*/ 1101681 w 4572000"/>
              <a:gd name="connsiteY22" fmla="*/ 4805359 h 5143500"/>
              <a:gd name="connsiteX23" fmla="*/ 1095865 w 4572000"/>
              <a:gd name="connsiteY23" fmla="*/ 4811167 h 5143500"/>
              <a:gd name="connsiteX24" fmla="*/ 1095865 w 4572000"/>
              <a:gd name="connsiteY24" fmla="*/ 4944812 h 5143500"/>
              <a:gd name="connsiteX25" fmla="*/ 1101681 w 4572000"/>
              <a:gd name="connsiteY25" fmla="*/ 4950628 h 5143500"/>
              <a:gd name="connsiteX26" fmla="*/ 1127824 w 4572000"/>
              <a:gd name="connsiteY26" fmla="*/ 4950628 h 5143500"/>
              <a:gd name="connsiteX27" fmla="*/ 1128318 w 4572000"/>
              <a:gd name="connsiteY27" fmla="*/ 4950134 h 5143500"/>
              <a:gd name="connsiteX28" fmla="*/ 1130432 w 4572000"/>
              <a:gd name="connsiteY28" fmla="*/ 4950134 h 5143500"/>
              <a:gd name="connsiteX29" fmla="*/ 1136286 w 4572000"/>
              <a:gd name="connsiteY29" fmla="*/ 4944348 h 5143500"/>
              <a:gd name="connsiteX30" fmla="*/ 1136286 w 4572000"/>
              <a:gd name="connsiteY30" fmla="*/ 4811405 h 5143500"/>
              <a:gd name="connsiteX31" fmla="*/ 1130432 w 4572000"/>
              <a:gd name="connsiteY31" fmla="*/ 4805627 h 5143500"/>
              <a:gd name="connsiteX32" fmla="*/ 1128093 w 4572000"/>
              <a:gd name="connsiteY32" fmla="*/ 4805627 h 5143500"/>
              <a:gd name="connsiteX33" fmla="*/ 1127824 w 4572000"/>
              <a:gd name="connsiteY33" fmla="*/ 4805359 h 5143500"/>
              <a:gd name="connsiteX34" fmla="*/ 891921 w 4572000"/>
              <a:gd name="connsiteY34" fmla="*/ 4802455 h 5143500"/>
              <a:gd name="connsiteX35" fmla="*/ 819860 w 4572000"/>
              <a:gd name="connsiteY35" fmla="*/ 4877990 h 5143500"/>
              <a:gd name="connsiteX36" fmla="*/ 893950 w 4572000"/>
              <a:gd name="connsiteY36" fmla="*/ 4953533 h 5143500"/>
              <a:gd name="connsiteX37" fmla="*/ 923594 w 4572000"/>
              <a:gd name="connsiteY37" fmla="*/ 4947899 h 5143500"/>
              <a:gd name="connsiteX38" fmla="*/ 924072 w 4572000"/>
              <a:gd name="connsiteY38" fmla="*/ 4947569 h 5143500"/>
              <a:gd name="connsiteX39" fmla="*/ 924870 w 4572000"/>
              <a:gd name="connsiteY39" fmla="*/ 4947419 h 5143500"/>
              <a:gd name="connsiteX40" fmla="*/ 967554 w 4572000"/>
              <a:gd name="connsiteY40" fmla="*/ 4877877 h 5143500"/>
              <a:gd name="connsiteX41" fmla="*/ 924009 w 4572000"/>
              <a:gd name="connsiteY41" fmla="*/ 4808342 h 5143500"/>
              <a:gd name="connsiteX42" fmla="*/ 922788 w 4572000"/>
              <a:gd name="connsiteY42" fmla="*/ 4808122 h 5143500"/>
              <a:gd name="connsiteX43" fmla="*/ 922738 w 4572000"/>
              <a:gd name="connsiteY43" fmla="*/ 4808088 h 5143500"/>
              <a:gd name="connsiteX44" fmla="*/ 891921 w 4572000"/>
              <a:gd name="connsiteY44" fmla="*/ 4802455 h 5143500"/>
              <a:gd name="connsiteX45" fmla="*/ 725444 w 4572000"/>
              <a:gd name="connsiteY45" fmla="*/ 4802455 h 5143500"/>
              <a:gd name="connsiteX46" fmla="*/ 667046 w 4572000"/>
              <a:gd name="connsiteY46" fmla="*/ 4812907 h 5143500"/>
              <a:gd name="connsiteX47" fmla="*/ 666934 w 4572000"/>
              <a:gd name="connsiteY47" fmla="*/ 4813086 h 5143500"/>
              <a:gd name="connsiteX48" fmla="*/ 666651 w 4572000"/>
              <a:gd name="connsiteY48" fmla="*/ 4813136 h 5143500"/>
              <a:gd name="connsiteX49" fmla="*/ 659335 w 4572000"/>
              <a:gd name="connsiteY49" fmla="*/ 4824699 h 5143500"/>
              <a:gd name="connsiteX50" fmla="*/ 659335 w 4572000"/>
              <a:gd name="connsiteY50" fmla="*/ 4944348 h 5143500"/>
              <a:gd name="connsiteX51" fmla="*/ 659778 w 4572000"/>
              <a:gd name="connsiteY51" fmla="*/ 4944785 h 5143500"/>
              <a:gd name="connsiteX52" fmla="*/ 659778 w 4572000"/>
              <a:gd name="connsiteY52" fmla="*/ 4944812 h 5143500"/>
              <a:gd name="connsiteX53" fmla="*/ 665594 w 4572000"/>
              <a:gd name="connsiteY53" fmla="*/ 4950628 h 5143500"/>
              <a:gd name="connsiteX54" fmla="*/ 691737 w 4572000"/>
              <a:gd name="connsiteY54" fmla="*/ 4950628 h 5143500"/>
              <a:gd name="connsiteX55" fmla="*/ 697553 w 4572000"/>
              <a:gd name="connsiteY55" fmla="*/ 4944812 h 5143500"/>
              <a:gd name="connsiteX56" fmla="*/ 697553 w 4572000"/>
              <a:gd name="connsiteY56" fmla="*/ 4847194 h 5143500"/>
              <a:gd name="connsiteX57" fmla="*/ 704449 w 4572000"/>
              <a:gd name="connsiteY57" fmla="*/ 4839717 h 5143500"/>
              <a:gd name="connsiteX58" fmla="*/ 726010 w 4572000"/>
              <a:gd name="connsiteY58" fmla="*/ 4837419 h 5143500"/>
              <a:gd name="connsiteX59" fmla="*/ 746014 w 4572000"/>
              <a:gd name="connsiteY59" fmla="*/ 4843168 h 5143500"/>
              <a:gd name="connsiteX60" fmla="*/ 754203 w 4572000"/>
              <a:gd name="connsiteY60" fmla="*/ 4862009 h 5143500"/>
              <a:gd name="connsiteX61" fmla="*/ 754203 w 4572000"/>
              <a:gd name="connsiteY61" fmla="*/ 4944812 h 5143500"/>
              <a:gd name="connsiteX62" fmla="*/ 760019 w 4572000"/>
              <a:gd name="connsiteY62" fmla="*/ 4950628 h 5143500"/>
              <a:gd name="connsiteX63" fmla="*/ 786161 w 4572000"/>
              <a:gd name="connsiteY63" fmla="*/ 4950628 h 5143500"/>
              <a:gd name="connsiteX64" fmla="*/ 791977 w 4572000"/>
              <a:gd name="connsiteY64" fmla="*/ 4944812 h 5143500"/>
              <a:gd name="connsiteX65" fmla="*/ 791977 w 4572000"/>
              <a:gd name="connsiteY65" fmla="*/ 4944762 h 5143500"/>
              <a:gd name="connsiteX66" fmla="*/ 792396 w 4572000"/>
              <a:gd name="connsiteY66" fmla="*/ 4944348 h 5143500"/>
              <a:gd name="connsiteX67" fmla="*/ 792396 w 4572000"/>
              <a:gd name="connsiteY67" fmla="*/ 4857065 h 5143500"/>
              <a:gd name="connsiteX68" fmla="*/ 775798 w 4572000"/>
              <a:gd name="connsiteY68" fmla="*/ 4816682 h 5143500"/>
              <a:gd name="connsiteX69" fmla="*/ 775550 w 4572000"/>
              <a:gd name="connsiteY69" fmla="*/ 4816558 h 5143500"/>
              <a:gd name="connsiteX70" fmla="*/ 775487 w 4572000"/>
              <a:gd name="connsiteY70" fmla="*/ 4816471 h 5143500"/>
              <a:gd name="connsiteX71" fmla="*/ 725444 w 4572000"/>
              <a:gd name="connsiteY71" fmla="*/ 4802455 h 5143500"/>
              <a:gd name="connsiteX72" fmla="*/ 559835 w 4572000"/>
              <a:gd name="connsiteY72" fmla="*/ 4802455 h 5143500"/>
              <a:gd name="connsiteX73" fmla="*/ 529663 w 4572000"/>
              <a:gd name="connsiteY73" fmla="*/ 4807762 h 5143500"/>
              <a:gd name="connsiteX74" fmla="*/ 529596 w 4572000"/>
              <a:gd name="connsiteY74" fmla="*/ 4807805 h 5143500"/>
              <a:gd name="connsiteX75" fmla="*/ 528373 w 4572000"/>
              <a:gd name="connsiteY75" fmla="*/ 4808018 h 5143500"/>
              <a:gd name="connsiteX76" fmla="*/ 483587 w 4572000"/>
              <a:gd name="connsiteY76" fmla="*/ 4877877 h 5143500"/>
              <a:gd name="connsiteX77" fmla="*/ 526397 w 4572000"/>
              <a:gd name="connsiteY77" fmla="*/ 4947825 h 5143500"/>
              <a:gd name="connsiteX78" fmla="*/ 527143 w 4572000"/>
              <a:gd name="connsiteY78" fmla="*/ 4947947 h 5143500"/>
              <a:gd name="connsiteX79" fmla="*/ 527701 w 4572000"/>
              <a:gd name="connsiteY79" fmla="*/ 4948307 h 5143500"/>
              <a:gd name="connsiteX80" fmla="*/ 559257 w 4572000"/>
              <a:gd name="connsiteY80" fmla="*/ 4953533 h 5143500"/>
              <a:gd name="connsiteX81" fmla="*/ 617069 w 4572000"/>
              <a:gd name="connsiteY81" fmla="*/ 4941908 h 5143500"/>
              <a:gd name="connsiteX82" fmla="*/ 624338 w 4572000"/>
              <a:gd name="connsiteY82" fmla="*/ 4930284 h 5143500"/>
              <a:gd name="connsiteX83" fmla="*/ 624338 w 4572000"/>
              <a:gd name="connsiteY83" fmla="*/ 4824821 h 5143500"/>
              <a:gd name="connsiteX84" fmla="*/ 617069 w 4572000"/>
              <a:gd name="connsiteY84" fmla="*/ 4813204 h 5143500"/>
              <a:gd name="connsiteX85" fmla="*/ 559835 w 4572000"/>
              <a:gd name="connsiteY85" fmla="*/ 4802455 h 5143500"/>
              <a:gd name="connsiteX86" fmla="*/ 398012 w 4572000"/>
              <a:gd name="connsiteY86" fmla="*/ 4801292 h 5143500"/>
              <a:gd name="connsiteX87" fmla="*/ 396528 w 4572000"/>
              <a:gd name="connsiteY87" fmla="*/ 4801750 h 5143500"/>
              <a:gd name="connsiteX88" fmla="*/ 395863 w 4572000"/>
              <a:gd name="connsiteY88" fmla="*/ 4801582 h 5143500"/>
              <a:gd name="connsiteX89" fmla="*/ 331528 w 4572000"/>
              <a:gd name="connsiteY89" fmla="*/ 4853603 h 5143500"/>
              <a:gd name="connsiteX90" fmla="*/ 425688 w 4572000"/>
              <a:gd name="connsiteY90" fmla="*/ 4933656 h 5143500"/>
              <a:gd name="connsiteX91" fmla="*/ 423937 w 4572000"/>
              <a:gd name="connsiteY91" fmla="*/ 4944348 h 5143500"/>
              <a:gd name="connsiteX92" fmla="*/ 423646 w 4572000"/>
              <a:gd name="connsiteY92" fmla="*/ 4946089 h 5143500"/>
              <a:gd name="connsiteX93" fmla="*/ 428030 w 4572000"/>
              <a:gd name="connsiteY93" fmla="*/ 4950134 h 5143500"/>
              <a:gd name="connsiteX94" fmla="*/ 429441 w 4572000"/>
              <a:gd name="connsiteY94" fmla="*/ 4950134 h 5143500"/>
              <a:gd name="connsiteX95" fmla="*/ 429970 w 4572000"/>
              <a:gd name="connsiteY95" fmla="*/ 4950628 h 5143500"/>
              <a:gd name="connsiteX96" fmla="*/ 456122 w 4572000"/>
              <a:gd name="connsiteY96" fmla="*/ 4950628 h 5143500"/>
              <a:gd name="connsiteX97" fmla="*/ 463669 w 4572000"/>
              <a:gd name="connsiteY97" fmla="*/ 4944812 h 5143500"/>
              <a:gd name="connsiteX98" fmla="*/ 465995 w 4572000"/>
              <a:gd name="connsiteY98" fmla="*/ 4928255 h 5143500"/>
              <a:gd name="connsiteX99" fmla="*/ 372446 w 4572000"/>
              <a:gd name="connsiteY99" fmla="*/ 4850972 h 5143500"/>
              <a:gd name="connsiteX100" fmla="*/ 378875 w 4572000"/>
              <a:gd name="connsiteY100" fmla="*/ 4840371 h 5143500"/>
              <a:gd name="connsiteX101" fmla="*/ 395405 w 4572000"/>
              <a:gd name="connsiteY101" fmla="*/ 4836760 h 5143500"/>
              <a:gd name="connsiteX102" fmla="*/ 438849 w 4572000"/>
              <a:gd name="connsiteY102" fmla="*/ 4849557 h 5143500"/>
              <a:gd name="connsiteX103" fmla="*/ 443233 w 4572000"/>
              <a:gd name="connsiteY103" fmla="*/ 4850714 h 5143500"/>
              <a:gd name="connsiteX104" fmla="*/ 443816 w 4572000"/>
              <a:gd name="connsiteY104" fmla="*/ 4850348 h 5143500"/>
              <a:gd name="connsiteX105" fmla="*/ 445075 w 4572000"/>
              <a:gd name="connsiteY105" fmla="*/ 4850684 h 5143500"/>
              <a:gd name="connsiteX106" fmla="*/ 451468 w 4572000"/>
              <a:gd name="connsiteY106" fmla="*/ 4846616 h 5143500"/>
              <a:gd name="connsiteX107" fmla="*/ 460477 w 4572000"/>
              <a:gd name="connsiteY107" fmla="*/ 4827435 h 5143500"/>
              <a:gd name="connsiteX108" fmla="*/ 461640 w 4572000"/>
              <a:gd name="connsiteY108" fmla="*/ 4822502 h 5143500"/>
              <a:gd name="connsiteX109" fmla="*/ 458151 w 4572000"/>
              <a:gd name="connsiteY109" fmla="*/ 4816686 h 5143500"/>
              <a:gd name="connsiteX110" fmla="*/ 398012 w 4572000"/>
              <a:gd name="connsiteY110" fmla="*/ 4801292 h 5143500"/>
              <a:gd name="connsiteX111" fmla="*/ 1053744 w 4572000"/>
              <a:gd name="connsiteY111" fmla="*/ 4747249 h 5143500"/>
              <a:gd name="connsiteX112" fmla="*/ 994182 w 4572000"/>
              <a:gd name="connsiteY112" fmla="*/ 4808264 h 5143500"/>
              <a:gd name="connsiteX113" fmla="*/ 994182 w 4572000"/>
              <a:gd name="connsiteY113" fmla="*/ 4944812 h 5143500"/>
              <a:gd name="connsiteX114" fmla="*/ 999998 w 4572000"/>
              <a:gd name="connsiteY114" fmla="*/ 4950628 h 5143500"/>
              <a:gd name="connsiteX115" fmla="*/ 1025852 w 4572000"/>
              <a:gd name="connsiteY115" fmla="*/ 4950628 h 5143500"/>
              <a:gd name="connsiteX116" fmla="*/ 1026345 w 4572000"/>
              <a:gd name="connsiteY116" fmla="*/ 4950134 h 5143500"/>
              <a:gd name="connsiteX117" fmla="*/ 1027795 w 4572000"/>
              <a:gd name="connsiteY117" fmla="*/ 4950134 h 5143500"/>
              <a:gd name="connsiteX118" fmla="*/ 1033640 w 4572000"/>
              <a:gd name="connsiteY118" fmla="*/ 4944348 h 5143500"/>
              <a:gd name="connsiteX119" fmla="*/ 1033640 w 4572000"/>
              <a:gd name="connsiteY119" fmla="*/ 4837419 h 5143500"/>
              <a:gd name="connsiteX120" fmla="*/ 1070781 w 4572000"/>
              <a:gd name="connsiteY120" fmla="*/ 4837419 h 5143500"/>
              <a:gd name="connsiteX121" fmla="*/ 1076626 w 4572000"/>
              <a:gd name="connsiteY121" fmla="*/ 4831634 h 5143500"/>
              <a:gd name="connsiteX122" fmla="*/ 1076626 w 4572000"/>
              <a:gd name="connsiteY122" fmla="*/ 4811692 h 5143500"/>
              <a:gd name="connsiteX123" fmla="*/ 1070781 w 4572000"/>
              <a:gd name="connsiteY123" fmla="*/ 4805627 h 5143500"/>
              <a:gd name="connsiteX124" fmla="*/ 1068815 w 4572000"/>
              <a:gd name="connsiteY124" fmla="*/ 4805627 h 5143500"/>
              <a:gd name="connsiteX125" fmla="*/ 1068560 w 4572000"/>
              <a:gd name="connsiteY125" fmla="*/ 4805359 h 5143500"/>
              <a:gd name="connsiteX126" fmla="*/ 1033640 w 4572000"/>
              <a:gd name="connsiteY126" fmla="*/ 4805359 h 5143500"/>
              <a:gd name="connsiteX127" fmla="*/ 1033640 w 4572000"/>
              <a:gd name="connsiteY127" fmla="*/ 4802443 h 5143500"/>
              <a:gd name="connsiteX128" fmla="*/ 1056749 w 4572000"/>
              <a:gd name="connsiteY128" fmla="*/ 4778457 h 5143500"/>
              <a:gd name="connsiteX129" fmla="*/ 1071072 w 4572000"/>
              <a:gd name="connsiteY129" fmla="*/ 4779901 h 5143500"/>
              <a:gd name="connsiteX130" fmla="*/ 1076626 w 4572000"/>
              <a:gd name="connsiteY130" fmla="*/ 4774411 h 5143500"/>
              <a:gd name="connsiteX131" fmla="*/ 1079557 w 4572000"/>
              <a:gd name="connsiteY131" fmla="*/ 4759385 h 5143500"/>
              <a:gd name="connsiteX132" fmla="*/ 1080138 w 4572000"/>
              <a:gd name="connsiteY132" fmla="*/ 4755627 h 5143500"/>
              <a:gd name="connsiteX133" fmla="*/ 1074293 w 4572000"/>
              <a:gd name="connsiteY133" fmla="*/ 4749848 h 5143500"/>
              <a:gd name="connsiteX134" fmla="*/ 1072405 w 4572000"/>
              <a:gd name="connsiteY134" fmla="*/ 4749641 h 5143500"/>
              <a:gd name="connsiteX135" fmla="*/ 1072049 w 4572000"/>
              <a:gd name="connsiteY135" fmla="*/ 4749285 h 5143500"/>
              <a:gd name="connsiteX136" fmla="*/ 1053744 w 4572000"/>
              <a:gd name="connsiteY136" fmla="*/ 4747249 h 5143500"/>
              <a:gd name="connsiteX137" fmla="*/ 1115152 w 4572000"/>
              <a:gd name="connsiteY137" fmla="*/ 4747131 h 5143500"/>
              <a:gd name="connsiteX138" fmla="*/ 1095105 w 4572000"/>
              <a:gd name="connsiteY138" fmla="*/ 4767478 h 5143500"/>
              <a:gd name="connsiteX139" fmla="*/ 1116018 w 4572000"/>
              <a:gd name="connsiteY139" fmla="*/ 4787818 h 5143500"/>
              <a:gd name="connsiteX140" fmla="*/ 1136066 w 4572000"/>
              <a:gd name="connsiteY140" fmla="*/ 4767481 h 5143500"/>
              <a:gd name="connsiteX141" fmla="*/ 1115152 w 4572000"/>
              <a:gd name="connsiteY141" fmla="*/ 4747131 h 5143500"/>
              <a:gd name="connsiteX142" fmla="*/ 0 w 4572000"/>
              <a:gd name="connsiteY142" fmla="*/ 0 h 5143500"/>
              <a:gd name="connsiteX143" fmla="*/ 4572000 w 4572000"/>
              <a:gd name="connsiteY143" fmla="*/ 0 h 5143500"/>
              <a:gd name="connsiteX144" fmla="*/ 4572000 w 4572000"/>
              <a:gd name="connsiteY144" fmla="*/ 5143500 h 5143500"/>
              <a:gd name="connsiteX145" fmla="*/ 0 w 4572000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4572000" h="5143500">
                <a:moveTo>
                  <a:pt x="351364" y="4913481"/>
                </a:moveTo>
                <a:cubicBezTo>
                  <a:pt x="339457" y="4913486"/>
                  <a:pt x="331613" y="4921037"/>
                  <a:pt x="331614" y="4933530"/>
                </a:cubicBezTo>
                <a:cubicBezTo>
                  <a:pt x="331609" y="4945734"/>
                  <a:pt x="339457" y="4953580"/>
                  <a:pt x="352238" y="4953582"/>
                </a:cubicBezTo>
                <a:cubicBezTo>
                  <a:pt x="364154" y="4953577"/>
                  <a:pt x="371991" y="4945737"/>
                  <a:pt x="371988" y="4933533"/>
                </a:cubicBezTo>
                <a:cubicBezTo>
                  <a:pt x="371996" y="4921039"/>
                  <a:pt x="364154" y="4913482"/>
                  <a:pt x="351364" y="4913481"/>
                </a:cubicBezTo>
                <a:close/>
                <a:moveTo>
                  <a:pt x="892594" y="4837587"/>
                </a:moveTo>
                <a:lnTo>
                  <a:pt x="917847" y="4847631"/>
                </a:lnTo>
                <a:cubicBezTo>
                  <a:pt x="924092" y="4854457"/>
                  <a:pt x="927649" y="4864625"/>
                  <a:pt x="927649" y="4877990"/>
                </a:cubicBezTo>
                <a:cubicBezTo>
                  <a:pt x="927649" y="4891355"/>
                  <a:pt x="924092" y="4901524"/>
                  <a:pt x="918101" y="4908353"/>
                </a:cubicBezTo>
                <a:lnTo>
                  <a:pt x="894867" y="4918277"/>
                </a:lnTo>
                <a:lnTo>
                  <a:pt x="868934" y="4908080"/>
                </a:lnTo>
                <a:cubicBezTo>
                  <a:pt x="862646" y="4901288"/>
                  <a:pt x="859063" y="4891172"/>
                  <a:pt x="859063" y="4877877"/>
                </a:cubicBezTo>
                <a:cubicBezTo>
                  <a:pt x="859063" y="4864582"/>
                  <a:pt x="862646" y="4854468"/>
                  <a:pt x="868679" y="4847677"/>
                </a:cubicBezTo>
                <a:close/>
                <a:moveTo>
                  <a:pt x="559058" y="4837499"/>
                </a:moveTo>
                <a:lnTo>
                  <a:pt x="578337" y="4840021"/>
                </a:lnTo>
                <a:cubicBezTo>
                  <a:pt x="583310" y="4841465"/>
                  <a:pt x="585644" y="4843483"/>
                  <a:pt x="585644" y="4847817"/>
                </a:cubicBezTo>
                <a:lnTo>
                  <a:pt x="585644" y="4907937"/>
                </a:lnTo>
                <a:cubicBezTo>
                  <a:pt x="585644" y="4912270"/>
                  <a:pt x="583310" y="4914296"/>
                  <a:pt x="578337" y="4915741"/>
                </a:cubicBezTo>
                <a:lnTo>
                  <a:pt x="558606" y="4918322"/>
                </a:lnTo>
                <a:lnTo>
                  <a:pt x="534560" y="4909442"/>
                </a:lnTo>
                <a:cubicBezTo>
                  <a:pt x="527878" y="4902976"/>
                  <a:pt x="523520" y="4892806"/>
                  <a:pt x="523520" y="4877990"/>
                </a:cubicBezTo>
                <a:cubicBezTo>
                  <a:pt x="523520" y="4863173"/>
                  <a:pt x="527878" y="4853005"/>
                  <a:pt x="534560" y="4846542"/>
                </a:cubicBezTo>
                <a:close/>
                <a:moveTo>
                  <a:pt x="1101681" y="4805359"/>
                </a:moveTo>
                <a:cubicBezTo>
                  <a:pt x="1098193" y="4805359"/>
                  <a:pt x="1095865" y="4807677"/>
                  <a:pt x="1095865" y="4811167"/>
                </a:cubicBezTo>
                <a:lnTo>
                  <a:pt x="1095865" y="4944812"/>
                </a:lnTo>
                <a:cubicBezTo>
                  <a:pt x="1095865" y="4948301"/>
                  <a:pt x="1098193" y="4950628"/>
                  <a:pt x="1101681" y="4950628"/>
                </a:cubicBezTo>
                <a:lnTo>
                  <a:pt x="1127824" y="4950628"/>
                </a:lnTo>
                <a:lnTo>
                  <a:pt x="1128318" y="4950134"/>
                </a:lnTo>
                <a:lnTo>
                  <a:pt x="1130432" y="4950134"/>
                </a:lnTo>
                <a:cubicBezTo>
                  <a:pt x="1133944" y="4950134"/>
                  <a:pt x="1136286" y="4947819"/>
                  <a:pt x="1136286" y="4944348"/>
                </a:cubicBezTo>
                <a:lnTo>
                  <a:pt x="1136286" y="4811405"/>
                </a:lnTo>
                <a:cubicBezTo>
                  <a:pt x="1136286" y="4807934"/>
                  <a:pt x="1133944" y="4805627"/>
                  <a:pt x="1130432" y="4805627"/>
                </a:cubicBezTo>
                <a:lnTo>
                  <a:pt x="1128093" y="4805627"/>
                </a:lnTo>
                <a:lnTo>
                  <a:pt x="1127824" y="4805359"/>
                </a:lnTo>
                <a:close/>
                <a:moveTo>
                  <a:pt x="891921" y="4802455"/>
                </a:moveTo>
                <a:cubicBezTo>
                  <a:pt x="848338" y="4802455"/>
                  <a:pt x="819860" y="4834118"/>
                  <a:pt x="819860" y="4877990"/>
                </a:cubicBezTo>
                <a:cubicBezTo>
                  <a:pt x="819860" y="4921862"/>
                  <a:pt x="848338" y="4953533"/>
                  <a:pt x="893950" y="4953533"/>
                </a:cubicBezTo>
                <a:cubicBezTo>
                  <a:pt x="904845" y="4953533"/>
                  <a:pt x="914796" y="4951553"/>
                  <a:pt x="923594" y="4947899"/>
                </a:cubicBezTo>
                <a:lnTo>
                  <a:pt x="924072" y="4947569"/>
                </a:lnTo>
                <a:lnTo>
                  <a:pt x="924870" y="4947419"/>
                </a:lnTo>
                <a:cubicBezTo>
                  <a:pt x="951435" y="4936512"/>
                  <a:pt x="967554" y="4910608"/>
                  <a:pt x="967554" y="4877877"/>
                </a:cubicBezTo>
                <a:cubicBezTo>
                  <a:pt x="967554" y="4845146"/>
                  <a:pt x="951435" y="4819246"/>
                  <a:pt x="924009" y="4808342"/>
                </a:cubicBezTo>
                <a:lnTo>
                  <a:pt x="922788" y="4808122"/>
                </a:lnTo>
                <a:lnTo>
                  <a:pt x="922738" y="4808088"/>
                </a:lnTo>
                <a:cubicBezTo>
                  <a:pt x="913655" y="4804434"/>
                  <a:pt x="903323" y="4802455"/>
                  <a:pt x="891921" y="4802455"/>
                </a:cubicBezTo>
                <a:close/>
                <a:moveTo>
                  <a:pt x="725444" y="4802455"/>
                </a:moveTo>
                <a:cubicBezTo>
                  <a:pt x="708302" y="4802455"/>
                  <a:pt x="688256" y="4805359"/>
                  <a:pt x="667046" y="4812907"/>
                </a:cubicBezTo>
                <a:lnTo>
                  <a:pt x="666934" y="4813086"/>
                </a:lnTo>
                <a:lnTo>
                  <a:pt x="666651" y="4813136"/>
                </a:lnTo>
                <a:cubicBezTo>
                  <a:pt x="662557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8" y="4944785"/>
                </a:lnTo>
                <a:lnTo>
                  <a:pt x="659778" y="4944812"/>
                </a:lnTo>
                <a:cubicBezTo>
                  <a:pt x="659778" y="4948301"/>
                  <a:pt x="662104" y="4950628"/>
                  <a:pt x="665594" y="4950628"/>
                </a:cubicBezTo>
                <a:lnTo>
                  <a:pt x="691737" y="4950628"/>
                </a:lnTo>
                <a:cubicBezTo>
                  <a:pt x="695226" y="4950628"/>
                  <a:pt x="697553" y="4948301"/>
                  <a:pt x="697553" y="4944812"/>
                </a:cubicBezTo>
                <a:lnTo>
                  <a:pt x="697553" y="4847194"/>
                </a:lnTo>
                <a:lnTo>
                  <a:pt x="704449" y="4839717"/>
                </a:lnTo>
                <a:lnTo>
                  <a:pt x="726010" y="4837419"/>
                </a:lnTo>
                <a:lnTo>
                  <a:pt x="746014" y="4843168"/>
                </a:lnTo>
                <a:lnTo>
                  <a:pt x="754203" y="4862009"/>
                </a:lnTo>
                <a:lnTo>
                  <a:pt x="754203" y="4944812"/>
                </a:lnTo>
                <a:cubicBezTo>
                  <a:pt x="754203" y="4948301"/>
                  <a:pt x="756529" y="4950628"/>
                  <a:pt x="760019" y="4950628"/>
                </a:cubicBezTo>
                <a:lnTo>
                  <a:pt x="786161" y="4950628"/>
                </a:lnTo>
                <a:cubicBezTo>
                  <a:pt x="789651" y="4950628"/>
                  <a:pt x="791977" y="4948301"/>
                  <a:pt x="791977" y="4944812"/>
                </a:cubicBezTo>
                <a:lnTo>
                  <a:pt x="791977" y="4944762"/>
                </a:lnTo>
                <a:lnTo>
                  <a:pt x="792396" y="4944348"/>
                </a:lnTo>
                <a:lnTo>
                  <a:pt x="792396" y="4857065"/>
                </a:lnTo>
                <a:cubicBezTo>
                  <a:pt x="792396" y="4839438"/>
                  <a:pt x="786911" y="4825856"/>
                  <a:pt x="775798" y="4816682"/>
                </a:cubicBezTo>
                <a:lnTo>
                  <a:pt x="775550" y="4816558"/>
                </a:lnTo>
                <a:lnTo>
                  <a:pt x="775487" y="4816471"/>
                </a:lnTo>
                <a:cubicBezTo>
                  <a:pt x="764446" y="4807248"/>
                  <a:pt x="747813" y="4802455"/>
                  <a:pt x="725444" y="4802455"/>
                </a:cubicBezTo>
                <a:close/>
                <a:moveTo>
                  <a:pt x="559835" y="4802455"/>
                </a:moveTo>
                <a:cubicBezTo>
                  <a:pt x="548869" y="4802455"/>
                  <a:pt x="538720" y="4804289"/>
                  <a:pt x="529663" y="4807762"/>
                </a:cubicBezTo>
                <a:lnTo>
                  <a:pt x="529596" y="4807805"/>
                </a:lnTo>
                <a:lnTo>
                  <a:pt x="528373" y="4808018"/>
                </a:lnTo>
                <a:cubicBezTo>
                  <a:pt x="501027" y="4818381"/>
                  <a:pt x="483587" y="4843416"/>
                  <a:pt x="483587" y="4877877"/>
                </a:cubicBezTo>
                <a:cubicBezTo>
                  <a:pt x="483587" y="4912775"/>
                  <a:pt x="498720" y="4937596"/>
                  <a:pt x="526397" y="4947825"/>
                </a:cubicBezTo>
                <a:lnTo>
                  <a:pt x="527143" y="4947947"/>
                </a:lnTo>
                <a:lnTo>
                  <a:pt x="527701" y="4948307"/>
                </a:lnTo>
                <a:cubicBezTo>
                  <a:pt x="536867" y="4951735"/>
                  <a:pt x="547417" y="4953533"/>
                  <a:pt x="559257" y="4953533"/>
                </a:cubicBezTo>
                <a:cubicBezTo>
                  <a:pt x="578429" y="4953533"/>
                  <a:pt x="597023" y="4950331"/>
                  <a:pt x="617069" y="4941908"/>
                </a:cubicBezTo>
                <a:cubicBezTo>
                  <a:pt x="621723" y="4939879"/>
                  <a:pt x="624338" y="4936678"/>
                  <a:pt x="624338" y="4930284"/>
                </a:cubicBezTo>
                <a:lnTo>
                  <a:pt x="624338" y="4824821"/>
                </a:lnTo>
                <a:cubicBezTo>
                  <a:pt x="624338" y="4818138"/>
                  <a:pt x="621723" y="4814946"/>
                  <a:pt x="617069" y="4813204"/>
                </a:cubicBezTo>
                <a:cubicBezTo>
                  <a:pt x="597898" y="4805936"/>
                  <a:pt x="579880" y="4802455"/>
                  <a:pt x="559835" y="4802455"/>
                </a:cubicBezTo>
                <a:close/>
                <a:moveTo>
                  <a:pt x="398012" y="4801292"/>
                </a:moveTo>
                <a:lnTo>
                  <a:pt x="396528" y="4801750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7" y="4940590"/>
                  <a:pt x="423937" y="4944348"/>
                </a:cubicBezTo>
                <a:cubicBezTo>
                  <a:pt x="423646" y="4944931"/>
                  <a:pt x="423646" y="4945505"/>
                  <a:pt x="423646" y="4946089"/>
                </a:cubicBezTo>
                <a:cubicBezTo>
                  <a:pt x="423646" y="4948394"/>
                  <a:pt x="425107" y="4950134"/>
                  <a:pt x="428030" y="4950134"/>
                </a:cubicBezTo>
                <a:lnTo>
                  <a:pt x="429441" y="4950134"/>
                </a:lnTo>
                <a:lnTo>
                  <a:pt x="429970" y="4950628"/>
                </a:lnTo>
                <a:lnTo>
                  <a:pt x="456122" y="4950628"/>
                </a:lnTo>
                <a:cubicBezTo>
                  <a:pt x="460477" y="4950628"/>
                  <a:pt x="462217" y="4949176"/>
                  <a:pt x="463669" y="4944812"/>
                </a:cubicBezTo>
                <a:cubicBezTo>
                  <a:pt x="465419" y="4939879"/>
                  <a:pt x="465995" y="4933196"/>
                  <a:pt x="465995" y="4928255"/>
                </a:cubicBezTo>
                <a:cubicBezTo>
                  <a:pt x="465995" y="4862299"/>
                  <a:pt x="372446" y="4878177"/>
                  <a:pt x="372446" y="4850972"/>
                </a:cubicBezTo>
                <a:cubicBezTo>
                  <a:pt x="372446" y="4846523"/>
                  <a:pt x="374698" y="4842891"/>
                  <a:pt x="378875" y="4840371"/>
                </a:cubicBezTo>
                <a:lnTo>
                  <a:pt x="395405" y="4836760"/>
                </a:lnTo>
                <a:lnTo>
                  <a:pt x="438849" y="4849557"/>
                </a:lnTo>
                <a:cubicBezTo>
                  <a:pt x="440310" y="4850418"/>
                  <a:pt x="441772" y="4850714"/>
                  <a:pt x="443233" y="4850714"/>
                </a:cubicBezTo>
                <a:lnTo>
                  <a:pt x="443816" y="4850348"/>
                </a:lnTo>
                <a:lnTo>
                  <a:pt x="445075" y="4850684"/>
                </a:lnTo>
                <a:cubicBezTo>
                  <a:pt x="447690" y="4850684"/>
                  <a:pt x="450306" y="4849231"/>
                  <a:pt x="451468" y="4846616"/>
                </a:cubicBezTo>
                <a:lnTo>
                  <a:pt x="460477" y="4827435"/>
                </a:lnTo>
                <a:cubicBezTo>
                  <a:pt x="461318" y="4825652"/>
                  <a:pt x="461640" y="4823954"/>
                  <a:pt x="461640" y="4822502"/>
                </a:cubicBezTo>
                <a:cubicBezTo>
                  <a:pt x="461640" y="4820176"/>
                  <a:pt x="460486" y="4817858"/>
                  <a:pt x="458151" y="4816686"/>
                </a:cubicBezTo>
                <a:cubicBezTo>
                  <a:pt x="440142" y="4806226"/>
                  <a:pt x="418636" y="4801292"/>
                  <a:pt x="398012" y="4801292"/>
                </a:cubicBezTo>
                <a:close/>
                <a:moveTo>
                  <a:pt x="1053744" y="4747249"/>
                </a:moveTo>
                <a:cubicBezTo>
                  <a:pt x="1017718" y="4747249"/>
                  <a:pt x="994182" y="4766420"/>
                  <a:pt x="994182" y="4808264"/>
                </a:cubicBezTo>
                <a:lnTo>
                  <a:pt x="994182" y="4944812"/>
                </a:lnTo>
                <a:cubicBezTo>
                  <a:pt x="994182" y="4948301"/>
                  <a:pt x="996508" y="4950628"/>
                  <a:pt x="999998" y="4950628"/>
                </a:cubicBezTo>
                <a:lnTo>
                  <a:pt x="1025852" y="4950628"/>
                </a:lnTo>
                <a:lnTo>
                  <a:pt x="1026345" y="4950134"/>
                </a:lnTo>
                <a:lnTo>
                  <a:pt x="1027795" y="4950134"/>
                </a:lnTo>
                <a:cubicBezTo>
                  <a:pt x="1031307" y="4950134"/>
                  <a:pt x="1033640" y="4947819"/>
                  <a:pt x="1033640" y="4944348"/>
                </a:cubicBezTo>
                <a:lnTo>
                  <a:pt x="1033640" y="4837419"/>
                </a:lnTo>
                <a:lnTo>
                  <a:pt x="1070781" y="4837419"/>
                </a:lnTo>
                <a:cubicBezTo>
                  <a:pt x="1074584" y="4837419"/>
                  <a:pt x="1076626" y="4835105"/>
                  <a:pt x="1076626" y="4831634"/>
                </a:cubicBezTo>
                <a:lnTo>
                  <a:pt x="1076626" y="4811692"/>
                </a:lnTo>
                <a:cubicBezTo>
                  <a:pt x="1076626" y="4807934"/>
                  <a:pt x="1074584" y="4805627"/>
                  <a:pt x="1070781" y="4805627"/>
                </a:cubicBezTo>
                <a:lnTo>
                  <a:pt x="1068815" y="4805627"/>
                </a:lnTo>
                <a:lnTo>
                  <a:pt x="1068560" y="4805359"/>
                </a:lnTo>
                <a:lnTo>
                  <a:pt x="1033640" y="4805359"/>
                </a:lnTo>
                <a:lnTo>
                  <a:pt x="1033640" y="4802443"/>
                </a:lnTo>
                <a:cubicBezTo>
                  <a:pt x="1033640" y="4786548"/>
                  <a:pt x="1040664" y="4778457"/>
                  <a:pt x="1056749" y="4778457"/>
                </a:cubicBezTo>
                <a:cubicBezTo>
                  <a:pt x="1062594" y="4778457"/>
                  <a:pt x="1068893" y="4779901"/>
                  <a:pt x="1071072" y="4779901"/>
                </a:cubicBezTo>
                <a:cubicBezTo>
                  <a:pt x="1074584" y="4779901"/>
                  <a:pt x="1076046" y="4777882"/>
                  <a:pt x="1076626" y="4774411"/>
                </a:cubicBezTo>
                <a:lnTo>
                  <a:pt x="1079557" y="4759385"/>
                </a:lnTo>
                <a:cubicBezTo>
                  <a:pt x="1079814" y="4758050"/>
                  <a:pt x="1080138" y="4756876"/>
                  <a:pt x="1080138" y="4755627"/>
                </a:cubicBezTo>
                <a:cubicBezTo>
                  <a:pt x="1080138" y="4752417"/>
                  <a:pt x="1078387" y="4750711"/>
                  <a:pt x="1074293" y="4749848"/>
                </a:cubicBezTo>
                <a:lnTo>
                  <a:pt x="1072405" y="4749641"/>
                </a:lnTo>
                <a:lnTo>
                  <a:pt x="1072049" y="4749285"/>
                </a:lnTo>
                <a:cubicBezTo>
                  <a:pt x="1066233" y="4747834"/>
                  <a:pt x="1059942" y="4747249"/>
                  <a:pt x="1053744" y="4747249"/>
                </a:cubicBezTo>
                <a:close/>
                <a:moveTo>
                  <a:pt x="1115152" y="4747131"/>
                </a:moveTo>
                <a:cubicBezTo>
                  <a:pt x="1102948" y="4747139"/>
                  <a:pt x="1095102" y="4754688"/>
                  <a:pt x="1095105" y="4767478"/>
                </a:cubicBezTo>
                <a:cubicBezTo>
                  <a:pt x="1095102" y="4779971"/>
                  <a:pt x="1102948" y="4787811"/>
                  <a:pt x="1116018" y="4787818"/>
                </a:cubicBezTo>
                <a:cubicBezTo>
                  <a:pt x="1127933" y="4787817"/>
                  <a:pt x="1136071" y="4779974"/>
                  <a:pt x="1136066" y="4767481"/>
                </a:cubicBezTo>
                <a:cubicBezTo>
                  <a:pt x="1136071" y="4754690"/>
                  <a:pt x="1127933" y="4747137"/>
                  <a:pt x="1115152" y="4747131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0F580B26-21D6-4630-AE3D-FB359C1C883E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9216309" y="1901915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16B17374-481A-4CE6-8974-CA84865A03CA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9216309" y="4860087"/>
            <a:ext cx="96687" cy="96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1748CB09-B51F-4AC1-A908-AF052BFFAB5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T-US-2204959-v1.0-07/2022</a:t>
            </a:r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C28E44FC-CC99-479F-B667-CC0B04AA1BE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013E5883-7FD1-4C44-9ADB-EE49A08914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6602" y="2500883"/>
            <a:ext cx="4103397" cy="973837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fr-FR" sz="32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2667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EF5BFE2C-3893-4574-8E43-0A06788709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06602" y="3490415"/>
            <a:ext cx="4103397" cy="53795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3333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ctr">
              <a:lnSpc>
                <a:spcPct val="100000"/>
              </a:lnSpc>
              <a:buFont typeface="Arial" panose="020B0604020202020204" pitchFamily="34" charset="0"/>
              <a:buNone/>
              <a:defRPr sz="3333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E331AD24-1AAB-440A-917D-3BB2B9658DC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06602" y="4113499"/>
            <a:ext cx="4103397" cy="331244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333"/>
              </a:spcAft>
              <a:defRPr lang="en-US" sz="16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71391" indent="0" algn="l">
              <a:lnSpc>
                <a:spcPct val="100000"/>
              </a:lnSpc>
              <a:buFont typeface="Arial" panose="020B0604020202020204" pitchFamily="34" charset="0"/>
              <a:buNone/>
              <a:defRPr lang="en-US" sz="16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333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296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Espace réservé du texte 5">
            <a:extLst>
              <a:ext uri="{FF2B5EF4-FFF2-40B4-BE49-F238E27FC236}">
                <a16:creationId xmlns:a16="http://schemas.microsoft.com/office/drawing/2014/main" id="{3FC96125-BC0F-469E-BA75-F4F2916D50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56171-4788-4B4A-B8DB-98CB348C66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3" y="1943799"/>
            <a:ext cx="11304000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E214CB94-27AF-41B7-A363-829DCFEBE7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11304000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7577A6-F24A-4B6D-B7E1-FB31180BD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111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Espace réservé pour une image  3">
            <a:extLst>
              <a:ext uri="{FF2B5EF4-FFF2-40B4-BE49-F238E27FC236}">
                <a16:creationId xmlns:a16="http://schemas.microsoft.com/office/drawing/2014/main" id="{CEC2E05F-5F9D-41D9-A40F-97C2869C7D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462400" y="0"/>
            <a:ext cx="3729600" cy="68580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39F8F8F8-B2E7-4739-8BFF-FA42634CE5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76512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E0A2CB60-A40E-44FE-B4B7-57EBEFEC0DF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7647827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614E260-5FC8-4D02-8571-9C1540BB2B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3" y="1943799"/>
            <a:ext cx="7647827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792EA-2F40-4220-B1A0-E938F3FB8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7647827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111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98963" y="4159250"/>
            <a:ext cx="1271271" cy="1257300"/>
          </a:xfrm>
          <a:prstGeom prst="rect">
            <a:avLst/>
          </a:prstGeom>
        </p:spPr>
      </p:pic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241" y="3020997"/>
            <a:ext cx="1118105" cy="4431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3200" b="1" noProof="0" dirty="0">
                <a:solidFill>
                  <a:schemeClr val="tx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679091" y="3020997"/>
            <a:ext cx="6517348" cy="443199"/>
          </a:xfrm>
        </p:spPr>
        <p:txBody>
          <a:bodyPr/>
          <a:lstStyle>
            <a:lvl1pPr>
              <a:lnSpc>
                <a:spcPct val="90000"/>
              </a:lnSpc>
              <a:defRPr lang="fr-FR" sz="3200" b="1" i="0" kern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79091" y="398087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800"/>
              </a:spcBef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679091" y="3554158"/>
            <a:ext cx="6517348" cy="315415"/>
          </a:xfrm>
        </p:spPr>
        <p:txBody>
          <a:bodyPr/>
          <a:lstStyle>
            <a:lvl1pPr>
              <a:lnSpc>
                <a:spcPct val="90000"/>
              </a:lnSpc>
              <a:defRPr lang="fr-FR" sz="1867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fr-FR" sz="1867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1067"/>
              </a:spcBef>
              <a:defRPr sz="1867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400"/>
              </a:spcBef>
              <a:defRPr lang="fr-FR" sz="100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5695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7E64057C-5A6F-41C9-B888-6149A71BAD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6000" y="0"/>
            <a:ext cx="6096000" cy="68580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D67FA919-D04A-4310-ADDF-1120333F61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5373371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929FD931-0FD5-4A54-8BB1-79F5E8669C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4" y="1577578"/>
            <a:ext cx="5371001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AEBA920-ED61-4542-B852-868AA9D5A0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4" y="1943799"/>
            <a:ext cx="5371001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62E878-181A-4B45-B709-990F0EC3E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1" y="710401"/>
            <a:ext cx="5371001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18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s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B88BFE2C-28A1-438A-960B-E93F4C5FF58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51324" y="2077802"/>
            <a:ext cx="2922291" cy="21544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0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67A3D333-F7E4-4D2F-8B90-78E621A65AB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096000" y="2077802"/>
            <a:ext cx="2922291" cy="215444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0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333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Espace réservé pour une image  3">
            <a:extLst>
              <a:ext uri="{FF2B5EF4-FFF2-40B4-BE49-F238E27FC236}">
                <a16:creationId xmlns:a16="http://schemas.microsoft.com/office/drawing/2014/main" id="{D04D9ECA-57E3-42D4-AB59-AFDFC4994F90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444974" y="2439354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id="{A4ACE33E-54EC-45BB-A1EF-BC5E84D636C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096001" y="2439354"/>
            <a:ext cx="2340559" cy="3622821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3DEB9B5-F15A-466E-8080-C371BE1672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719523" y="2439354"/>
            <a:ext cx="2745600" cy="22669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3DFB714-75E9-40A1-A9E1-32341A0AB2F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068498" y="2439354"/>
            <a:ext cx="2744537" cy="22669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8B0C0C30-D9D7-4BD7-AF39-B6CB516C98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1CD7C0F2-9ED1-4D8C-94FB-BE336E7168B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11304000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841BA8-9107-45A1-B4A7-F5FE729D4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5845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rgbClr val="E9E6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algn="r">
              <a:lnSpc>
                <a:spcPct val="110000"/>
              </a:lnSpc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2083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1998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1911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1823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4" y="1577577"/>
            <a:ext cx="2824073" cy="49244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5" y="1943799"/>
            <a:ext cx="2827013" cy="42952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2827447" cy="7482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1" name="Forme libre : forme 9">
            <a:extLst>
              <a:ext uri="{FF2B5EF4-FFF2-40B4-BE49-F238E27FC236}">
                <a16:creationId xmlns:a16="http://schemas.microsoft.com/office/drawing/2014/main" id="{F5349C85-4F38-41FC-8627-25D47DE73E7F}"/>
              </a:ext>
            </a:extLst>
          </p:cNvPr>
          <p:cNvSpPr>
            <a:spLocks noChangeAspect="1"/>
          </p:cNvSpPr>
          <p:nvPr userDrawn="1"/>
        </p:nvSpPr>
        <p:spPr>
          <a:xfrm>
            <a:off x="441599" y="6330316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32" name="Graphique 7">
            <a:extLst>
              <a:ext uri="{FF2B5EF4-FFF2-40B4-BE49-F238E27FC236}">
                <a16:creationId xmlns:a16="http://schemas.microsoft.com/office/drawing/2014/main" id="{06A5D6C0-9CFB-4C86-8BD0-9B0F6C1008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40" name="Forme libre : forme 9">
              <a:extLst>
                <a:ext uri="{FF2B5EF4-FFF2-40B4-BE49-F238E27FC236}">
                  <a16:creationId xmlns:a16="http://schemas.microsoft.com/office/drawing/2014/main" id="{7570A171-087A-451D-8C88-52D822ABF6D0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1" name="Forme libre : forme 10">
              <a:extLst>
                <a:ext uri="{FF2B5EF4-FFF2-40B4-BE49-F238E27FC236}">
                  <a16:creationId xmlns:a16="http://schemas.microsoft.com/office/drawing/2014/main" id="{FC3C9097-DD6E-4680-8304-A8A8F1E97DB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5" name="Forme libre : forme 11">
              <a:extLst>
                <a:ext uri="{FF2B5EF4-FFF2-40B4-BE49-F238E27FC236}">
                  <a16:creationId xmlns:a16="http://schemas.microsoft.com/office/drawing/2014/main" id="{BDB8E9CF-D9B2-4FB3-B1A5-B96BB1FF6D5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1600905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algn="r">
              <a:lnSpc>
                <a:spcPct val="110000"/>
              </a:lnSpc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2083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1998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1911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1823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4" y="1577577"/>
            <a:ext cx="2824073" cy="49244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5" y="1943799"/>
            <a:ext cx="2827013" cy="429522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302392" indent="-302392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2pPr>
            <a:lvl3pPr marL="609585" indent="-302392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3pPr>
            <a:lvl4pPr marL="911977" indent="-302392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2827447" cy="7482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3" name="Graphique 7">
            <a:extLst>
              <a:ext uri="{FF2B5EF4-FFF2-40B4-BE49-F238E27FC236}">
                <a16:creationId xmlns:a16="http://schemas.microsoft.com/office/drawing/2014/main" id="{E81F6DB5-904A-4266-BC9D-43DEDDAB2FF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44" name="Forme libre : forme 9">
              <a:extLst>
                <a:ext uri="{FF2B5EF4-FFF2-40B4-BE49-F238E27FC236}">
                  <a16:creationId xmlns:a16="http://schemas.microsoft.com/office/drawing/2014/main" id="{D973C0DD-9BFB-489B-BB18-B95D2818DDEA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6" name="Forme libre : forme 10">
              <a:extLst>
                <a:ext uri="{FF2B5EF4-FFF2-40B4-BE49-F238E27FC236}">
                  <a16:creationId xmlns:a16="http://schemas.microsoft.com/office/drawing/2014/main" id="{CDE5A571-F6DA-4505-A5B1-DCCE6D336F4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7" name="Forme libre : forme 11">
              <a:extLst>
                <a:ext uri="{FF2B5EF4-FFF2-40B4-BE49-F238E27FC236}">
                  <a16:creationId xmlns:a16="http://schemas.microsoft.com/office/drawing/2014/main" id="{1EB464DC-BE69-4F65-B141-43FCFC49AC68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166673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2083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2082" y="1584820"/>
            <a:ext cx="1379716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3427" y="1519091"/>
            <a:ext cx="1178053" cy="531256"/>
          </a:xfrm>
        </p:spPr>
        <p:txBody>
          <a:bodyPr anchor="b">
            <a:noAutofit/>
          </a:bodyPr>
          <a:lstStyle>
            <a:lvl1pPr algn="r">
              <a:lnSpc>
                <a:spcPct val="110000"/>
              </a:lnSpc>
              <a:defRPr sz="1067" cap="all" baseline="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402083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061999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61999" y="1584820"/>
            <a:ext cx="1379715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21915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21914" y="1584820"/>
            <a:ext cx="1379713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381831" y="2468972"/>
            <a:ext cx="1379716" cy="18192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381830" y="1584820"/>
            <a:ext cx="1379713" cy="532283"/>
          </a:xfrm>
        </p:spPr>
        <p:txBody>
          <a:bodyPr/>
          <a:lstStyle>
            <a:lvl1pPr algn="l">
              <a:lnSpc>
                <a:spcPct val="110000"/>
              </a:lnSpc>
              <a:defRPr sz="3467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2083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061998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61998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21911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721911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381823" y="4587063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81823" y="5039497"/>
            <a:ext cx="1379716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4" y="1577577"/>
            <a:ext cx="2824073" cy="49244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42035" y="1943799"/>
            <a:ext cx="2827013" cy="42952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302392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609585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911977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2827447" cy="7482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1" name="Graphique 7">
            <a:extLst>
              <a:ext uri="{FF2B5EF4-FFF2-40B4-BE49-F238E27FC236}">
                <a16:creationId xmlns:a16="http://schemas.microsoft.com/office/drawing/2014/main" id="{0055A07A-E8A5-4FC1-9082-2E1016C9787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32" name="Forme libre : forme 9">
              <a:extLst>
                <a:ext uri="{FF2B5EF4-FFF2-40B4-BE49-F238E27FC236}">
                  <a16:creationId xmlns:a16="http://schemas.microsoft.com/office/drawing/2014/main" id="{3CAEBE62-17A4-4CBD-B78D-154B1E270C58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0" name="Forme libre : forme 10">
              <a:extLst>
                <a:ext uri="{FF2B5EF4-FFF2-40B4-BE49-F238E27FC236}">
                  <a16:creationId xmlns:a16="http://schemas.microsoft.com/office/drawing/2014/main" id="{398D76C0-14BC-45A1-BA5D-05C4DA269827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1" name="Forme libre : forme 11">
              <a:extLst>
                <a:ext uri="{FF2B5EF4-FFF2-40B4-BE49-F238E27FC236}">
                  <a16:creationId xmlns:a16="http://schemas.microsoft.com/office/drawing/2014/main" id="{7734F84F-E2B5-42BC-915A-6FEA20143203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85391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 (Alternative)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rgbClr val="E9E6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EFA975DA-1F61-4E92-847F-881A6B959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2279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30" name="Espace réservé du texte 4">
            <a:extLst>
              <a:ext uri="{FF2B5EF4-FFF2-40B4-BE49-F238E27FC236}">
                <a16:creationId xmlns:a16="http://schemas.microsoft.com/office/drawing/2014/main" id="{F6E50AC3-1EA3-493F-A0D3-634DA300E2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52279" y="1577578"/>
            <a:ext cx="6459117" cy="245708"/>
          </a:xfrm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defRPr sz="160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Espace réservé du texte 4">
            <a:extLst>
              <a:ext uri="{FF2B5EF4-FFF2-40B4-BE49-F238E27FC236}">
                <a16:creationId xmlns:a16="http://schemas.microsoft.com/office/drawing/2014/main" id="{0E2314AF-F33D-4B84-8412-DF73ECC51E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3081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id="{8444AA6E-9EC0-4895-8FC6-4351D2BEE03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53884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E3BC2BD0-41C8-4C7A-BC1B-E444A392D0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054688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E6118210-A598-4833-8C53-BBA66CF5796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52279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140FC0A1-6231-4649-9573-C6772F9B84B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352279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2DAC1528-CEDA-41B5-AAAF-B8FF60A576A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253082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5FFDA929-E8A8-4AC0-99CE-44C3C6910AE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53082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9709CCCA-F00B-45D4-9788-1FBC4F09AA0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153886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B5E93FAA-61CE-40AC-8738-0DE2C5E1F42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53886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14A4C1F7-829A-4567-999B-287472F1F40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054690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A4030E47-E75C-4A3D-9FAD-95FD358BD57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054690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FA14FD7-95C9-4327-B716-189176F2E3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CBC1E183-B986-4005-B87A-30E837CB27F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4974" y="1577577"/>
            <a:ext cx="2824073" cy="49244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1183799-5968-4FC4-B6D2-F8DDF1F8685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42034" y="1943799"/>
            <a:ext cx="2827447" cy="429522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302392" indent="-302392">
              <a:buFontTx/>
              <a:buBlip>
                <a:blip r:embed="rId4"/>
              </a:buBlip>
              <a:defRPr>
                <a:solidFill>
                  <a:schemeClr val="tx1"/>
                </a:solidFill>
              </a:defRPr>
            </a:lvl2pPr>
            <a:lvl3pPr marL="609585" indent="-302392">
              <a:buFontTx/>
              <a:buBlip>
                <a:blip r:embed="rId4"/>
              </a:buBlip>
              <a:defRPr>
                <a:solidFill>
                  <a:schemeClr val="tx1"/>
                </a:solidFill>
              </a:defRPr>
            </a:lvl3pPr>
            <a:lvl4pPr marL="911977" indent="-302392">
              <a:buFontTx/>
              <a:buBlip>
                <a:blip r:embed="rId4"/>
              </a:buBlip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0C5BA-4E6C-49B9-BC13-AE34B754C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2827447" cy="7482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5" name="Graphique 7">
            <a:extLst>
              <a:ext uri="{FF2B5EF4-FFF2-40B4-BE49-F238E27FC236}">
                <a16:creationId xmlns:a16="http://schemas.microsoft.com/office/drawing/2014/main" id="{5AC15C66-D7EB-4500-A551-9FCE3A2D9B8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36" name="Forme libre : forme 9">
              <a:extLst>
                <a:ext uri="{FF2B5EF4-FFF2-40B4-BE49-F238E27FC236}">
                  <a16:creationId xmlns:a16="http://schemas.microsoft.com/office/drawing/2014/main" id="{DAF98B67-E81F-4FBA-B764-933BBFE9CB5D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7" name="Forme libre : forme 10">
              <a:extLst>
                <a:ext uri="{FF2B5EF4-FFF2-40B4-BE49-F238E27FC236}">
                  <a16:creationId xmlns:a16="http://schemas.microsoft.com/office/drawing/2014/main" id="{C543963D-5473-4E97-AA1B-110116F53F39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7" name="Forme libre : forme 11">
              <a:extLst>
                <a:ext uri="{FF2B5EF4-FFF2-40B4-BE49-F238E27FC236}">
                  <a16:creationId xmlns:a16="http://schemas.microsoft.com/office/drawing/2014/main" id="{3C560FE1-3142-4294-8909-8B9B8E77CFF7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128023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 (Alternative)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EFA975DA-1F61-4E92-847F-881A6B959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2279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30" name="Espace réservé du texte 4">
            <a:extLst>
              <a:ext uri="{FF2B5EF4-FFF2-40B4-BE49-F238E27FC236}">
                <a16:creationId xmlns:a16="http://schemas.microsoft.com/office/drawing/2014/main" id="{F6E50AC3-1EA3-493F-A0D3-634DA300E2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52279" y="1577578"/>
            <a:ext cx="6459117" cy="245708"/>
          </a:xfrm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defRPr sz="160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Espace réservé du texte 4">
            <a:extLst>
              <a:ext uri="{FF2B5EF4-FFF2-40B4-BE49-F238E27FC236}">
                <a16:creationId xmlns:a16="http://schemas.microsoft.com/office/drawing/2014/main" id="{0E2314AF-F33D-4B84-8412-DF73ECC51E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3081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id="{8444AA6E-9EC0-4895-8FC6-4351D2BEE03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53884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E3BC2BD0-41C8-4C7A-BC1B-E444A392D0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054688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E6118210-A598-4833-8C53-BBA66CF5796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52279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140FC0A1-6231-4649-9573-C6772F9B84B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352279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2DAC1528-CEDA-41B5-AAAF-B8FF60A576A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253082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5FFDA929-E8A8-4AC0-99CE-44C3C6910AE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53082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9709CCCA-F00B-45D4-9788-1FBC4F09AA0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153886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B5E93FAA-61CE-40AC-8738-0DE2C5E1F42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53886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14A4C1F7-829A-4567-999B-287472F1F40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054690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A4030E47-E75C-4A3D-9FAD-95FD358BD57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054690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FA14FD7-95C9-4327-B716-189176F2E3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35" name="Graphique 7">
            <a:extLst>
              <a:ext uri="{FF2B5EF4-FFF2-40B4-BE49-F238E27FC236}">
                <a16:creationId xmlns:a16="http://schemas.microsoft.com/office/drawing/2014/main" id="{8670D0AF-4A05-41F5-A174-F1DCC172E6C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36" name="Forme libre : forme 9">
              <a:extLst>
                <a:ext uri="{FF2B5EF4-FFF2-40B4-BE49-F238E27FC236}">
                  <a16:creationId xmlns:a16="http://schemas.microsoft.com/office/drawing/2014/main" id="{674A82B9-E907-49FC-BC51-EE0E71572E6B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7" name="Forme libre : forme 10">
              <a:extLst>
                <a:ext uri="{FF2B5EF4-FFF2-40B4-BE49-F238E27FC236}">
                  <a16:creationId xmlns:a16="http://schemas.microsoft.com/office/drawing/2014/main" id="{365977A4-5832-45CF-A184-D4324C135EEC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7" name="Forme libre : forme 11">
              <a:extLst>
                <a:ext uri="{FF2B5EF4-FFF2-40B4-BE49-F238E27FC236}">
                  <a16:creationId xmlns:a16="http://schemas.microsoft.com/office/drawing/2014/main" id="{5471ED42-9DE8-447E-9480-04E42DA17FE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BEB64EF3-BB46-4060-851B-3BDF171213C2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4974" y="1577577"/>
            <a:ext cx="2824073" cy="49244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55E673C-6C7F-4EB7-A0E8-9C04C7963949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42035" y="1943799"/>
            <a:ext cx="2827013" cy="429522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302392" indent="-302392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2pPr>
            <a:lvl3pPr marL="609585" indent="-302392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3pPr>
            <a:lvl4pPr marL="911977" indent="-302392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0FF51BB-965D-4F61-9692-EE296D3C6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2827447" cy="7482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893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37296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EFA975DA-1F61-4E92-847F-881A6B959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2279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30" name="Espace réservé du texte 4">
            <a:extLst>
              <a:ext uri="{FF2B5EF4-FFF2-40B4-BE49-F238E27FC236}">
                <a16:creationId xmlns:a16="http://schemas.microsoft.com/office/drawing/2014/main" id="{F6E50AC3-1EA3-493F-A0D3-634DA300E2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52279" y="1577578"/>
            <a:ext cx="6459117" cy="245708"/>
          </a:xfrm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defRPr sz="1600">
                <a:solidFill>
                  <a:schemeClr val="tx1"/>
                </a:solidFill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Espace réservé du texte 4">
            <a:extLst>
              <a:ext uri="{FF2B5EF4-FFF2-40B4-BE49-F238E27FC236}">
                <a16:creationId xmlns:a16="http://schemas.microsoft.com/office/drawing/2014/main" id="{0E2314AF-F33D-4B84-8412-DF73ECC51E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3081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id="{8444AA6E-9EC0-4895-8FC6-4351D2BEE03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53884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E3BC2BD0-41C8-4C7A-BC1B-E444A392D0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054688" y="2220014"/>
            <a:ext cx="1091851" cy="921277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60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28594" indent="-228594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067"/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E6118210-A598-4833-8C53-BBA66CF5796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352279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140FC0A1-6231-4649-9573-C6772F9B84B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352279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2DAC1528-CEDA-41B5-AAAF-B8FF60A576A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253082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5FFDA929-E8A8-4AC0-99CE-44C3C6910AE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53082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9709CCCA-F00B-45D4-9788-1FBC4F09AA0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153886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B5E93FAA-61CE-40AC-8738-0DE2C5E1F42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153886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14A4C1F7-829A-4567-999B-287472F1F40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0054690" y="3269349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600">
                <a:solidFill>
                  <a:schemeClr val="accent2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1467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A4030E47-E75C-4A3D-9FAD-95FD358BD57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054690" y="3721782"/>
            <a:ext cx="1694284" cy="419247"/>
          </a:xfrm>
        </p:spPr>
        <p:txBody>
          <a:bodyPr/>
          <a:lstStyle>
            <a:lvl1pPr algn="l">
              <a:lnSpc>
                <a:spcPct val="125000"/>
              </a:lnSpc>
              <a:defRPr sz="1067">
                <a:solidFill>
                  <a:schemeClr val="tx1"/>
                </a:solidFill>
              </a:defRPr>
            </a:lvl1pPr>
            <a:lvl2pPr marL="0" indent="0">
              <a:lnSpc>
                <a:spcPts val="1600"/>
              </a:lnSpc>
              <a:spcAft>
                <a:spcPts val="533"/>
              </a:spcAft>
              <a:buFont typeface="Arial" panose="020B0604020202020204" pitchFamily="34" charset="0"/>
              <a:buNone/>
              <a:defRPr sz="933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1067">
                <a:latin typeface="+mj-lt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FA14FD7-95C9-4327-B716-189176F2E3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3427" y="425183"/>
            <a:ext cx="7715547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CBC1E183-B986-4005-B87A-30E837CB27F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44974" y="1577577"/>
            <a:ext cx="2824073" cy="492443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1183799-5968-4FC4-B6D2-F8DDF1F8685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442034" y="1943799"/>
            <a:ext cx="2827447" cy="42952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302392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609585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911977" indent="-302392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0C5BA-4E6C-49B9-BC13-AE34B754C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600" y="710401"/>
            <a:ext cx="2827447" cy="7482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5" name="Graphique 7">
            <a:extLst>
              <a:ext uri="{FF2B5EF4-FFF2-40B4-BE49-F238E27FC236}">
                <a16:creationId xmlns:a16="http://schemas.microsoft.com/office/drawing/2014/main" id="{92DE48E4-21B7-43C3-B1C8-D1A1E1D1183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36" name="Forme libre : forme 9">
              <a:extLst>
                <a:ext uri="{FF2B5EF4-FFF2-40B4-BE49-F238E27FC236}">
                  <a16:creationId xmlns:a16="http://schemas.microsoft.com/office/drawing/2014/main" id="{CF3C004A-12EF-4882-9435-5C8C5CDDA3DC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7" name="Forme libre : forme 10">
              <a:extLst>
                <a:ext uri="{FF2B5EF4-FFF2-40B4-BE49-F238E27FC236}">
                  <a16:creationId xmlns:a16="http://schemas.microsoft.com/office/drawing/2014/main" id="{C854BF86-9CB6-42C3-B52B-E372D3EE21D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7" name="Forme libre : forme 11">
              <a:extLst>
                <a:ext uri="{FF2B5EF4-FFF2-40B4-BE49-F238E27FC236}">
                  <a16:creationId xmlns:a16="http://schemas.microsoft.com/office/drawing/2014/main" id="{A41B13E3-A26E-439F-AA34-2A97E1411892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261727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MAT-US-2204959-v1.0-07/2022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able Placeholder 3">
            <a:extLst>
              <a:ext uri="{FF2B5EF4-FFF2-40B4-BE49-F238E27FC236}">
                <a16:creationId xmlns:a16="http://schemas.microsoft.com/office/drawing/2014/main" id="{828EDE46-3F40-4CF0-8732-22A2312E12B6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441384" y="1942730"/>
            <a:ext cx="11304000" cy="429629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Espace réservé du texte 5">
            <a:extLst>
              <a:ext uri="{FF2B5EF4-FFF2-40B4-BE49-F238E27FC236}">
                <a16:creationId xmlns:a16="http://schemas.microsoft.com/office/drawing/2014/main" id="{D46BD89B-81DC-413F-95C7-44BCE7D89F2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73" y="425183"/>
            <a:ext cx="11304000" cy="16414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1067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533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400"/>
              </a:spcBef>
              <a:tabLst>
                <a:tab pos="836063" algn="l"/>
              </a:tabLst>
              <a:defRPr sz="533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B46DC04F-F549-4DDB-B1AB-2032A0ED3E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73" y="1577578"/>
            <a:ext cx="11304000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533"/>
              </a:spcBef>
              <a:buFont typeface="Arial" panose="020B0604020202020204" pitchFamily="34" charset="0"/>
              <a:buNone/>
              <a:defRPr sz="1600"/>
            </a:lvl2pPr>
            <a:lvl3pPr>
              <a:lnSpc>
                <a:spcPct val="110000"/>
              </a:lnSpc>
              <a:defRPr lang="en-US" sz="133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A467E3-1BB0-45A9-9E32-33434B3E37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003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984036"/>
            <a:ext cx="9144000" cy="889928"/>
          </a:xfrm>
        </p:spPr>
        <p:txBody>
          <a:bodyPr anchor="ctr">
            <a:normAutofit/>
          </a:bodyPr>
          <a:lstStyle>
            <a:lvl1pPr algn="ctr">
              <a:defRPr sz="5333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6011445" y="4346936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011445" y="2362265"/>
            <a:ext cx="169113" cy="16791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Forme libre : forme 9">
            <a:extLst>
              <a:ext uri="{FF2B5EF4-FFF2-40B4-BE49-F238E27FC236}">
                <a16:creationId xmlns:a16="http://schemas.microsoft.com/office/drawing/2014/main" id="{9BDDF620-0779-479D-AEB4-C14EF8564C01}"/>
              </a:ext>
            </a:extLst>
          </p:cNvPr>
          <p:cNvSpPr>
            <a:spLocks noChangeAspect="1"/>
          </p:cNvSpPr>
          <p:nvPr userDrawn="1"/>
        </p:nvSpPr>
        <p:spPr>
          <a:xfrm>
            <a:off x="5559496" y="6014679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560063" y="6013890"/>
            <a:ext cx="1071853" cy="275084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28180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vmlDrawing" Target="../drawings/vmlDrawing2.vml"/><Relationship Id="rId28" Type="http://schemas.openxmlformats.org/officeDocument/2006/relationships/image" Target="../media/image10.emf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Relationship Id="rId27" Type="http://schemas.openxmlformats.org/officeDocument/2006/relationships/image" Target="../media/image9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vmlDrawing" Target="../drawings/vmlDrawing16.vml"/><Relationship Id="rId3" Type="http://schemas.openxmlformats.org/officeDocument/2006/relationships/slideLayout" Target="../slideLayouts/slideLayout45.xml"/><Relationship Id="rId21" Type="http://schemas.openxmlformats.org/officeDocument/2006/relationships/oleObject" Target="../embeddings/oleObject16.bin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tags" Target="../tags/tag19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image" Target="../media/image10.emf"/><Relationship Id="rId10" Type="http://schemas.openxmlformats.org/officeDocument/2006/relationships/slideLayout" Target="../slideLayouts/slideLayout52.xml"/><Relationship Id="rId19" Type="http://schemas.openxmlformats.org/officeDocument/2006/relationships/tags" Target="../tags/tag18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image" Target="../media/image1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oleObject" Target="../embeddings/oleObject17.bin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tags" Target="../tags/tag21.xml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20.xml"/><Relationship Id="rId20" Type="http://schemas.openxmlformats.org/officeDocument/2006/relationships/image" Target="../media/image10.emf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vmlDrawing" Target="../drawings/vmlDrawing17.vml"/><Relationship Id="rId10" Type="http://schemas.openxmlformats.org/officeDocument/2006/relationships/slideLayout" Target="../slideLayouts/slideLayout68.xml"/><Relationship Id="rId19" Type="http://schemas.openxmlformats.org/officeDocument/2006/relationships/image" Target="../media/image15.emf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9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105.xml"/><Relationship Id="rId42" Type="http://schemas.openxmlformats.org/officeDocument/2006/relationships/slideLayout" Target="../slideLayouts/slideLayout113.xml"/><Relationship Id="rId47" Type="http://schemas.openxmlformats.org/officeDocument/2006/relationships/slideLayout" Target="../slideLayouts/slideLayout118.xml"/><Relationship Id="rId50" Type="http://schemas.openxmlformats.org/officeDocument/2006/relationships/slideLayout" Target="../slideLayouts/slideLayout121.xml"/><Relationship Id="rId55" Type="http://schemas.openxmlformats.org/officeDocument/2006/relationships/vmlDrawing" Target="../drawings/vmlDrawing19.v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08.xml"/><Relationship Id="rId40" Type="http://schemas.openxmlformats.org/officeDocument/2006/relationships/slideLayout" Target="../slideLayouts/slideLayout111.xml"/><Relationship Id="rId45" Type="http://schemas.openxmlformats.org/officeDocument/2006/relationships/slideLayout" Target="../slideLayouts/slideLayout116.xml"/><Relationship Id="rId53" Type="http://schemas.openxmlformats.org/officeDocument/2006/relationships/slideLayout" Target="../slideLayouts/slideLayout124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43" Type="http://schemas.openxmlformats.org/officeDocument/2006/relationships/slideLayout" Target="../slideLayouts/slideLayout114.xml"/><Relationship Id="rId48" Type="http://schemas.openxmlformats.org/officeDocument/2006/relationships/slideLayout" Target="../slideLayouts/slideLayout119.xml"/><Relationship Id="rId56" Type="http://schemas.openxmlformats.org/officeDocument/2006/relationships/tags" Target="../tags/tag23.xml"/><Relationship Id="rId8" Type="http://schemas.openxmlformats.org/officeDocument/2006/relationships/slideLayout" Target="../slideLayouts/slideLayout79.xml"/><Relationship Id="rId51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slideLayout" Target="../slideLayouts/slideLayout109.xml"/><Relationship Id="rId46" Type="http://schemas.openxmlformats.org/officeDocument/2006/relationships/slideLayout" Target="../slideLayouts/slideLayout117.xml"/><Relationship Id="rId59" Type="http://schemas.openxmlformats.org/officeDocument/2006/relationships/image" Target="../media/image2.png"/><Relationship Id="rId20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12.xml"/><Relationship Id="rId54" Type="http://schemas.openxmlformats.org/officeDocument/2006/relationships/theme" Target="../theme/theme5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49" Type="http://schemas.openxmlformats.org/officeDocument/2006/relationships/slideLayout" Target="../slideLayouts/slideLayout120.xml"/><Relationship Id="rId57" Type="http://schemas.openxmlformats.org/officeDocument/2006/relationships/oleObject" Target="../embeddings/oleObject19.bin"/><Relationship Id="rId10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102.xml"/><Relationship Id="rId44" Type="http://schemas.openxmlformats.org/officeDocument/2006/relationships/slideLayout" Target="../slideLayouts/slideLayout115.xml"/><Relationship Id="rId52" Type="http://schemas.openxmlformats.org/officeDocument/2006/relationships/slideLayout" Target="../slideLayouts/slideLayout12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18" Type="http://schemas.openxmlformats.org/officeDocument/2006/relationships/slideLayout" Target="../slideLayouts/slideLayout142.xml"/><Relationship Id="rId26" Type="http://schemas.openxmlformats.org/officeDocument/2006/relationships/tags" Target="../tags/tag32.xml"/><Relationship Id="rId3" Type="http://schemas.openxmlformats.org/officeDocument/2006/relationships/slideLayout" Target="../slideLayouts/slideLayout127.xml"/><Relationship Id="rId21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slideLayout" Target="../slideLayouts/slideLayout141.xml"/><Relationship Id="rId25" Type="http://schemas.openxmlformats.org/officeDocument/2006/relationships/vmlDrawing" Target="../drawings/vmlDrawing26.v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20" Type="http://schemas.openxmlformats.org/officeDocument/2006/relationships/slideLayout" Target="../slideLayouts/slideLayout144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23" Type="http://schemas.openxmlformats.org/officeDocument/2006/relationships/slideLayout" Target="../slideLayouts/slideLayout14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34.xml"/><Relationship Id="rId19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Relationship Id="rId22" Type="http://schemas.openxmlformats.org/officeDocument/2006/relationships/slideLayout" Target="../slideLayouts/slideLayout146.xml"/><Relationship Id="rId27" Type="http://schemas.openxmlformats.org/officeDocument/2006/relationships/oleObject" Target="../embeddings/oleObject2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506DC30-D570-4E28-911C-4B4349F90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11298212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5" imgW="395" imgH="394" progId="TCLayout.ActiveDocument.1">
                  <p:embed/>
                </p:oleObj>
              </mc:Choice>
              <mc:Fallback>
                <p:oleObj name="think-cell Slide" r:id="rId2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506DC30-D570-4E28-911C-4B4349F90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1600" y="710401"/>
            <a:ext cx="11313600" cy="74824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1600" y="1944000"/>
            <a:ext cx="11304000" cy="42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6442" y="6479322"/>
            <a:ext cx="6459117" cy="170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MAT-US-2204959-v1.0-07/2022</a:t>
            </a:r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B6D8E440-8C31-4584-85CD-3DE2B7815CC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4724400" y="6106773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67" b="0" i="0" spc="27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11114968" y="6427327"/>
            <a:ext cx="63500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7" name="Forme libre : forme 9">
            <a:extLst>
              <a:ext uri="{FF2B5EF4-FFF2-40B4-BE49-F238E27FC236}">
                <a16:creationId xmlns:a16="http://schemas.microsoft.com/office/drawing/2014/main" id="{A881F5C4-317B-425E-B915-8F11F339271F}"/>
              </a:ext>
            </a:extLst>
          </p:cNvPr>
          <p:cNvSpPr>
            <a:spLocks noChangeAspect="1"/>
          </p:cNvSpPr>
          <p:nvPr userDrawn="1"/>
        </p:nvSpPr>
        <p:spPr>
          <a:xfrm>
            <a:off x="441599" y="6330316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10" name="Graphique 7">
            <a:extLst>
              <a:ext uri="{FF2B5EF4-FFF2-40B4-BE49-F238E27FC236}">
                <a16:creationId xmlns:a16="http://schemas.microsoft.com/office/drawing/2014/main" id="{6A66B5A4-BE29-4194-A788-255CA3752BC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13" name="Forme libre : forme 9">
              <a:extLst>
                <a:ext uri="{FF2B5EF4-FFF2-40B4-BE49-F238E27FC236}">
                  <a16:creationId xmlns:a16="http://schemas.microsoft.com/office/drawing/2014/main" id="{A7D23DBC-0CE7-4B8C-AB18-B9D29B71215B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4" name="Forme libre : forme 10">
              <a:extLst>
                <a:ext uri="{FF2B5EF4-FFF2-40B4-BE49-F238E27FC236}">
                  <a16:creationId xmlns:a16="http://schemas.microsoft.com/office/drawing/2014/main" id="{A40BE689-3FD6-4CA1-BF9A-644A538FE9F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5" name="Forme libre : forme 11">
              <a:extLst>
                <a:ext uri="{FF2B5EF4-FFF2-40B4-BE49-F238E27FC236}">
                  <a16:creationId xmlns:a16="http://schemas.microsoft.com/office/drawing/2014/main" id="{A9D1E70E-B241-44DA-B07E-44985CED13F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502051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fr-FR" sz="2933" b="0" i="0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377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333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02392" indent="-302392" algn="l" defTabSz="914377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Tx/>
        <a:buBlip>
          <a:blip r:embed="rId27"/>
        </a:buBlip>
        <a:defRPr sz="1333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09585" indent="-302392" algn="l" defTabSz="914377" rtl="0" eaLnBrk="1" latinLnBrk="0" hangingPunct="1">
        <a:lnSpc>
          <a:spcPct val="125000"/>
        </a:lnSpc>
        <a:spcBef>
          <a:spcPts val="0"/>
        </a:spcBef>
        <a:buFontTx/>
        <a:buBlip>
          <a:blip r:embed="rId27"/>
        </a:buBlip>
        <a:defRPr sz="1333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11977" indent="-302392" algn="l" defTabSz="914377" rtl="0" eaLnBrk="1" latinLnBrk="0" hangingPunct="1">
        <a:lnSpc>
          <a:spcPct val="125000"/>
        </a:lnSpc>
        <a:spcBef>
          <a:spcPts val="0"/>
        </a:spcBef>
        <a:buFontTx/>
        <a:buBlip>
          <a:blip r:embed="rId27"/>
        </a:buBlip>
        <a:defRPr sz="1333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0" indent="0" algn="l" defTabSz="914377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333" b="1" i="0" kern="1200">
          <a:solidFill>
            <a:schemeClr val="accent1"/>
          </a:solidFill>
          <a:latin typeface="+mj-lt"/>
          <a:ea typeface="Verdana" panose="020B0604030504040204" pitchFamily="34" charset="0"/>
          <a:cs typeface="Georgia" panose="02040502050405020303" pitchFamily="18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10355427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733" b="0" i="0" baseline="0">
              <a:solidFill>
                <a:srgbClr val="FFFFFF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78367" y="364067"/>
            <a:ext cx="11226800" cy="518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/>
              <a:t>Slide - texte - 1 colonne, corps 28</a:t>
            </a:r>
            <a:endParaRPr lang="en-US" altLang="fr-FR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78367" y="1782233"/>
            <a:ext cx="11226800" cy="4478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Texte 1er niveau, corps 20</a:t>
            </a:r>
          </a:p>
          <a:p>
            <a:pPr lvl="1"/>
            <a:r>
              <a:rPr lang="fr-FR" altLang="fr-FR"/>
              <a:t>Texte 2e niveau, corps 18</a:t>
            </a:r>
          </a:p>
          <a:p>
            <a:pPr lvl="2"/>
            <a:r>
              <a:rPr lang="fr-FR" altLang="fr-FR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478367" y="920751"/>
            <a:ext cx="112268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10284885" y="6441018"/>
            <a:ext cx="1035049" cy="1642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67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defTabSz="914377">
              <a:defRPr/>
            </a:pPr>
            <a:endParaRPr lang="fr-FR">
              <a:solidFill>
                <a:srgbClr val="6B747B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0300" y="6441018"/>
            <a:ext cx="414867" cy="1642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67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defTabSz="914377">
              <a:defRPr/>
            </a:pPr>
            <a:fld id="{CA2D226C-31FF-4F1D-9EDD-AFD8C69927AB}" type="slidenum">
              <a:rPr lang="fr-FR" smtClean="0">
                <a:solidFill>
                  <a:srgbClr val="6B747B"/>
                </a:solidFill>
              </a:rPr>
              <a:pPr defTabSz="914377">
                <a:defRPr/>
              </a:pPr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11944351" y="6523567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11434233" y="6460067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4" name="Image 10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485" y="6381751"/>
            <a:ext cx="2330449" cy="289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4813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</p:sldLayoutIdLst>
  <p:hf hdr="0" dt="0"/>
  <p:txStyles>
    <p:titleStyle>
      <a:lvl1pPr algn="l" defTabSz="91437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33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1437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2pPr>
      <a:lvl3pPr algn="l" defTabSz="91437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3pPr>
      <a:lvl4pPr algn="l" defTabSz="91437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4pPr>
      <a:lvl5pPr algn="l" defTabSz="91437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5pPr>
      <a:lvl6pPr marL="609585" algn="l" defTabSz="914377" rtl="0" fontAlgn="base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6pPr>
      <a:lvl7pPr marL="1219170" algn="l" defTabSz="914377" rtl="0" fontAlgn="base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7pPr>
      <a:lvl8pPr marL="1828754" algn="l" defTabSz="914377" rtl="0" fontAlgn="base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8pPr>
      <a:lvl9pPr marL="2438339" algn="l" defTabSz="914377" rtl="0" fontAlgn="base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tx2"/>
          </a:solidFill>
          <a:latin typeface="Arial" pitchFamily="34" charset="0"/>
        </a:defRPr>
      </a:lvl9pPr>
    </p:titleStyle>
    <p:bodyStyle>
      <a:lvl1pPr marL="186262" indent="-186262" algn="l" defTabSz="914377" rtl="0" eaLnBrk="0" fontAlgn="base" hangingPunct="0">
        <a:lnSpc>
          <a:spcPct val="90000"/>
        </a:lnSpc>
        <a:spcBef>
          <a:spcPts val="2400"/>
        </a:spcBef>
        <a:spcAft>
          <a:spcPct val="0"/>
        </a:spcAft>
        <a:buClr>
          <a:schemeClr val="accent1"/>
        </a:buClr>
        <a:buFont typeface="Arial" charset="0"/>
        <a:buChar char="•"/>
        <a:defRPr sz="2667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361942" indent="-182029" algn="l" defTabSz="91437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bg2"/>
        </a:buClr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541853" indent="-179913" algn="l" defTabSz="91437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bg2"/>
        </a:buClr>
        <a:buFont typeface="Arial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BE9BB5-83EF-435D-9B54-F31C091735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178061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21" imgW="592" imgH="595" progId="TCLayout.ActiveDocument.1">
                  <p:embed/>
                </p:oleObj>
              </mc:Choice>
              <mc:Fallback>
                <p:oleObj name="think-cell Slide" r:id="rId21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BE9BB5-83EF-435D-9B54-F31C091735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DA1EB7A-DE7D-4FD2-A5F9-7ED15CF1BB9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733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8366" y="365027"/>
            <a:ext cx="11226801" cy="5170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fr-FR"/>
              <a:t>Slide - texte - 1 colonne, corps 28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8367" y="1782508"/>
            <a:ext cx="11226800" cy="4478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Texte 1er niveau, corps 20</a:t>
            </a:r>
          </a:p>
          <a:p>
            <a:pPr lvl="1"/>
            <a:r>
              <a:rPr lang="fr-FR"/>
              <a:t>Texte 2e niveau, corps 18</a:t>
            </a:r>
          </a:p>
          <a:p>
            <a:pPr lvl="2"/>
            <a:r>
              <a:rPr lang="fr-FR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478367" y="919976"/>
            <a:ext cx="112268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11816" y="6441567"/>
            <a:ext cx="7708403" cy="1641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/>
              <a:t>MAT-US-2204959-v1.0-07/2022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10284664" y="6441567"/>
            <a:ext cx="1035587" cy="1641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993" y="6441567"/>
            <a:ext cx="414748" cy="1641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AB65AF6B-611D-486D-B9A4-3AF7C1722E8B}" type="slidenum">
              <a:rPr lang="en-US" smtClean="0"/>
              <a:t>‹#›</a:t>
            </a:fld>
            <a:endParaRPr lang="en-US"/>
          </a:p>
        </p:txBody>
      </p:sp>
      <p:cxnSp>
        <p:nvCxnSpPr>
          <p:cNvPr id="29" name="Connecteur droit 28"/>
          <p:cNvCxnSpPr/>
          <p:nvPr/>
        </p:nvCxnSpPr>
        <p:spPr>
          <a:xfrm>
            <a:off x="11944351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11434233" y="6460140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00" y="6382569"/>
            <a:ext cx="2331816" cy="28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836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6262" indent="-186262" algn="l" defTabSz="914377" rtl="0" eaLnBrk="1" latinLnBrk="0" hangingPunct="1">
        <a:lnSpc>
          <a:spcPct val="90000"/>
        </a:lnSpc>
        <a:spcBef>
          <a:spcPts val="2400"/>
        </a:spcBef>
        <a:buClr>
          <a:schemeClr val="accent1"/>
        </a:buClr>
        <a:buFont typeface="Arial" charset="0"/>
        <a:buChar char="•"/>
        <a:tabLst/>
        <a:defRPr sz="2667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361942" indent="-182029" algn="l" defTabSz="914377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charset="0"/>
        <a:buChar char="•"/>
        <a:tabLst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1853" indent="-179913" algn="l" defTabSz="914377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charset="0"/>
        <a:buChar char="•"/>
        <a:tabLst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860">
          <p15:clr>
            <a:srgbClr val="F26B43"/>
          </p15:clr>
        </p15:guide>
        <p15:guide id="8" orient="horz" pos="781">
          <p15:clr>
            <a:srgbClr val="F26B43"/>
          </p15:clr>
        </p15:guide>
        <p15:guide id="9" orient="horz" pos="295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976167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E25FE46-EDC4-4A8E-8BBC-3BC045148A4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733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8369" y="365027"/>
            <a:ext cx="11226801" cy="5170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fr-FR"/>
              <a:t>Slide - texte - 1 colonne, corps 28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8367" y="1782508"/>
            <a:ext cx="11226800" cy="4478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Texte 1er niveau, corps 20</a:t>
            </a:r>
          </a:p>
          <a:p>
            <a:pPr lvl="1"/>
            <a:r>
              <a:rPr lang="fr-FR"/>
              <a:t>Texte 2e niveau, corps 18</a:t>
            </a:r>
          </a:p>
          <a:p>
            <a:pPr lvl="2"/>
            <a:r>
              <a:rPr lang="fr-FR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478367" y="919976"/>
            <a:ext cx="112268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11816" y="6441568"/>
            <a:ext cx="7708403" cy="1642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1067">
                <a:solidFill>
                  <a:schemeClr val="tx1"/>
                </a:solidFill>
              </a:defRPr>
            </a:lvl1pPr>
          </a:lstStyle>
          <a:p>
            <a:pPr defTabSz="914377"/>
            <a:r>
              <a:rPr lang="en-US">
                <a:solidFill>
                  <a:srgbClr val="6B747B"/>
                </a:solidFill>
              </a:rPr>
              <a:t>MAT-US-2204959-v1.0-07/2022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10284664" y="6441568"/>
            <a:ext cx="1035587" cy="1642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pPr defTabSz="914377"/>
            <a:endParaRPr lang="fr-FR">
              <a:solidFill>
                <a:srgbClr val="6B747B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995" y="6441568"/>
            <a:ext cx="414748" cy="1642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pPr defTabSz="914377"/>
            <a:fld id="{980E94A8-0648-D043-B8F7-3AFA110B04BE}" type="slidenum">
              <a:rPr lang="fr-FR" smtClean="0">
                <a:solidFill>
                  <a:srgbClr val="6B747B"/>
                </a:solidFill>
              </a:rPr>
              <a:pPr defTabSz="914377"/>
              <a:t>‹#›</a:t>
            </a:fld>
            <a:endParaRPr lang="fr-FR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11944351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11434233" y="6460141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00" y="6382571"/>
            <a:ext cx="2331816" cy="28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282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6" r:id="rId13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6262" indent="-186262" algn="l" defTabSz="914377" rtl="0" eaLnBrk="1" latinLnBrk="0" hangingPunct="1">
        <a:lnSpc>
          <a:spcPct val="90000"/>
        </a:lnSpc>
        <a:spcBef>
          <a:spcPts val="2400"/>
        </a:spcBef>
        <a:buClr>
          <a:schemeClr val="accent1"/>
        </a:buClr>
        <a:buFont typeface="Arial" charset="0"/>
        <a:buChar char="•"/>
        <a:tabLst/>
        <a:defRPr sz="2667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361942" indent="-182029" algn="l" defTabSz="914377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charset="0"/>
        <a:buChar char="•"/>
        <a:tabLst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1853" indent="-179913" algn="l" defTabSz="914377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charset="0"/>
        <a:buChar char="•"/>
        <a:tabLst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4" pos="5530">
          <p15:clr>
            <a:srgbClr val="F26B43"/>
          </p15:clr>
        </p15:guide>
        <p15:guide id="5" pos="2880">
          <p15:clr>
            <a:srgbClr val="F26B43"/>
          </p15:clr>
        </p15:guide>
        <p15:guide id="6" orient="horz" pos="860">
          <p15:clr>
            <a:srgbClr val="F26B43"/>
          </p15:clr>
        </p15:guide>
        <p15:guide id="7" orient="horz" pos="781">
          <p15:clr>
            <a:srgbClr val="F26B43"/>
          </p15:clr>
        </p15:guide>
        <p15:guide id="8" orient="horz" pos="295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3696EFD-9AFC-4BDE-A9EF-B30DC81EE5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79035376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7" imgW="395" imgH="394" progId="TCLayout.ActiveDocument.1">
                  <p:embed/>
                </p:oleObj>
              </mc:Choice>
              <mc:Fallback>
                <p:oleObj name="think-cell Slide" r:id="rId5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3696EFD-9AFC-4BDE-A9EF-B30DC81EE5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1600" y="710401"/>
            <a:ext cx="11313600" cy="74824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1600" y="1944000"/>
            <a:ext cx="11304000" cy="42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6442" y="6479322"/>
            <a:ext cx="6459117" cy="170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MAT-US-2204959-v1.0-07/2022</a:t>
            </a:r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B6D8E440-8C31-4584-85CD-3DE2B7815CC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4724400" y="6106773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67" b="0" i="0" spc="27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11114968" y="6427327"/>
            <a:ext cx="63500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10" name="Graphique 7">
            <a:extLst>
              <a:ext uri="{FF2B5EF4-FFF2-40B4-BE49-F238E27FC236}">
                <a16:creationId xmlns:a16="http://schemas.microsoft.com/office/drawing/2014/main" id="{6A66B5A4-BE29-4194-A788-255CA3752BC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13" name="Forme libre : forme 9">
              <a:extLst>
                <a:ext uri="{FF2B5EF4-FFF2-40B4-BE49-F238E27FC236}">
                  <a16:creationId xmlns:a16="http://schemas.microsoft.com/office/drawing/2014/main" id="{A7D23DBC-0CE7-4B8C-AB18-B9D29B71215B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4" name="Forme libre : forme 10">
              <a:extLst>
                <a:ext uri="{FF2B5EF4-FFF2-40B4-BE49-F238E27FC236}">
                  <a16:creationId xmlns:a16="http://schemas.microsoft.com/office/drawing/2014/main" id="{A40BE689-3FD6-4CA1-BF9A-644A538FE9F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5" name="Forme libre : forme 11">
              <a:extLst>
                <a:ext uri="{FF2B5EF4-FFF2-40B4-BE49-F238E27FC236}">
                  <a16:creationId xmlns:a16="http://schemas.microsoft.com/office/drawing/2014/main" id="{A9D1E70E-B241-44DA-B07E-44985CED13F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730868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  <p:sldLayoutId id="2147483780" r:id="rId14"/>
    <p:sldLayoutId id="2147483781" r:id="rId15"/>
    <p:sldLayoutId id="2147483782" r:id="rId16"/>
    <p:sldLayoutId id="2147483783" r:id="rId17"/>
    <p:sldLayoutId id="2147483784" r:id="rId18"/>
    <p:sldLayoutId id="2147483785" r:id="rId19"/>
    <p:sldLayoutId id="2147483786" r:id="rId20"/>
    <p:sldLayoutId id="2147483787" r:id="rId21"/>
    <p:sldLayoutId id="2147483788" r:id="rId22"/>
    <p:sldLayoutId id="2147483789" r:id="rId23"/>
    <p:sldLayoutId id="2147483790" r:id="rId24"/>
    <p:sldLayoutId id="2147483791" r:id="rId25"/>
    <p:sldLayoutId id="2147483792" r:id="rId26"/>
    <p:sldLayoutId id="2147483793" r:id="rId27"/>
    <p:sldLayoutId id="2147483794" r:id="rId28"/>
    <p:sldLayoutId id="2147483795" r:id="rId29"/>
    <p:sldLayoutId id="2147483796" r:id="rId30"/>
    <p:sldLayoutId id="2147483797" r:id="rId31"/>
    <p:sldLayoutId id="2147483799" r:id="rId32"/>
    <p:sldLayoutId id="2147483800" r:id="rId33"/>
    <p:sldLayoutId id="2147483801" r:id="rId34"/>
    <p:sldLayoutId id="2147483802" r:id="rId35"/>
    <p:sldLayoutId id="2147483803" r:id="rId36"/>
    <p:sldLayoutId id="2147483804" r:id="rId37"/>
    <p:sldLayoutId id="2147483805" r:id="rId38"/>
    <p:sldLayoutId id="2147483806" r:id="rId39"/>
    <p:sldLayoutId id="2147483807" r:id="rId40"/>
    <p:sldLayoutId id="2147483808" r:id="rId41"/>
    <p:sldLayoutId id="2147483809" r:id="rId42"/>
    <p:sldLayoutId id="2147483810" r:id="rId43"/>
    <p:sldLayoutId id="2147483811" r:id="rId44"/>
    <p:sldLayoutId id="2147483812" r:id="rId45"/>
    <p:sldLayoutId id="2147483813" r:id="rId46"/>
    <p:sldLayoutId id="2147483814" r:id="rId47"/>
    <p:sldLayoutId id="2147483815" r:id="rId48"/>
    <p:sldLayoutId id="2147483816" r:id="rId49"/>
    <p:sldLayoutId id="2147483817" r:id="rId50"/>
    <p:sldLayoutId id="2147483818" r:id="rId51"/>
    <p:sldLayoutId id="2147483819" r:id="rId52"/>
    <p:sldLayoutId id="2147483820" r:id="rId5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fr-FR" sz="2933" b="0" i="0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377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02392" indent="-302392" algn="l" defTabSz="914377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Tx/>
        <a:buBlip>
          <a:blip r:embed="rId59"/>
        </a:buBlip>
        <a:defRPr sz="16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09585" indent="-302392" algn="l" defTabSz="914377" rtl="0" eaLnBrk="1" latinLnBrk="0" hangingPunct="1">
        <a:lnSpc>
          <a:spcPct val="125000"/>
        </a:lnSpc>
        <a:spcBef>
          <a:spcPts val="0"/>
        </a:spcBef>
        <a:buFontTx/>
        <a:buBlip>
          <a:blip r:embed="rId59"/>
        </a:buBlip>
        <a:defRPr sz="16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11977" indent="-302392" algn="l" defTabSz="914377" rtl="0" eaLnBrk="1" latinLnBrk="0" hangingPunct="1">
        <a:lnSpc>
          <a:spcPct val="125000"/>
        </a:lnSpc>
        <a:spcBef>
          <a:spcPts val="0"/>
        </a:spcBef>
        <a:buFontTx/>
        <a:buBlip>
          <a:blip r:embed="rId59"/>
        </a:buBlip>
        <a:defRPr sz="16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0" indent="0" algn="l" defTabSz="914377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600" b="1" i="0" kern="1200">
          <a:solidFill>
            <a:schemeClr val="accent1"/>
          </a:solidFill>
          <a:latin typeface="+mj-lt"/>
          <a:ea typeface="Verdana" panose="020B0604030504040204" pitchFamily="34" charset="0"/>
          <a:cs typeface="Georgia" panose="02040502050405020303" pitchFamily="18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506DC30-D570-4E28-911C-4B4349F90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11298212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506DC30-D570-4E28-911C-4B4349F90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1600" y="710401"/>
            <a:ext cx="11313600" cy="74824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1600" y="1944000"/>
            <a:ext cx="11304000" cy="42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66442" y="6479322"/>
            <a:ext cx="6459117" cy="1703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internal use</a:t>
            </a:r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B6D8E440-8C31-4584-85CD-3DE2B7815CC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4724400" y="6106773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67" b="0" i="0" spc="27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XX . XX . XXXX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11114968" y="6427327"/>
            <a:ext cx="63500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7" name="Forme libre : forme 9">
            <a:extLst>
              <a:ext uri="{FF2B5EF4-FFF2-40B4-BE49-F238E27FC236}">
                <a16:creationId xmlns:a16="http://schemas.microsoft.com/office/drawing/2014/main" id="{A881F5C4-317B-425E-B915-8F11F339271F}"/>
              </a:ext>
            </a:extLst>
          </p:cNvPr>
          <p:cNvSpPr>
            <a:spLocks noChangeAspect="1"/>
          </p:cNvSpPr>
          <p:nvPr userDrawn="1"/>
        </p:nvSpPr>
        <p:spPr>
          <a:xfrm>
            <a:off x="441599" y="6330316"/>
            <a:ext cx="1073008" cy="2736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10" name="Graphique 7">
            <a:extLst>
              <a:ext uri="{FF2B5EF4-FFF2-40B4-BE49-F238E27FC236}">
                <a16:creationId xmlns:a16="http://schemas.microsoft.com/office/drawing/2014/main" id="{6A66B5A4-BE29-4194-A788-255CA3752BC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2166" y="6329527"/>
            <a:ext cx="1071853" cy="275084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13" name="Forme libre : forme 9">
              <a:extLst>
                <a:ext uri="{FF2B5EF4-FFF2-40B4-BE49-F238E27FC236}">
                  <a16:creationId xmlns:a16="http://schemas.microsoft.com/office/drawing/2014/main" id="{A7D23DBC-0CE7-4B8C-AB18-B9D29B71215B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4" name="Forme libre : forme 10">
              <a:extLst>
                <a:ext uri="{FF2B5EF4-FFF2-40B4-BE49-F238E27FC236}">
                  <a16:creationId xmlns:a16="http://schemas.microsoft.com/office/drawing/2014/main" id="{A40BE689-3FD6-4CA1-BF9A-644A538FE9F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5" name="Forme libre : forme 11">
              <a:extLst>
                <a:ext uri="{FF2B5EF4-FFF2-40B4-BE49-F238E27FC236}">
                  <a16:creationId xmlns:a16="http://schemas.microsoft.com/office/drawing/2014/main" id="{A9D1E70E-B241-44DA-B07E-44985CED13F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1442294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fr-FR" sz="2933" b="0" i="0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377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333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02392" indent="-302392" algn="l" defTabSz="914377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Tx/>
        <a:buBlip>
          <a:blip r:embed="rId29"/>
        </a:buBlip>
        <a:defRPr sz="1333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09585" indent="-302392" algn="l" defTabSz="914377" rtl="0" eaLnBrk="1" latinLnBrk="0" hangingPunct="1">
        <a:lnSpc>
          <a:spcPct val="125000"/>
        </a:lnSpc>
        <a:spcBef>
          <a:spcPts val="0"/>
        </a:spcBef>
        <a:buFontTx/>
        <a:buBlip>
          <a:blip r:embed="rId29"/>
        </a:buBlip>
        <a:defRPr sz="1333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11977" indent="-302392" algn="l" defTabSz="914377" rtl="0" eaLnBrk="1" latinLnBrk="0" hangingPunct="1">
        <a:lnSpc>
          <a:spcPct val="125000"/>
        </a:lnSpc>
        <a:spcBef>
          <a:spcPts val="0"/>
        </a:spcBef>
        <a:buFontTx/>
        <a:buBlip>
          <a:blip r:embed="rId29"/>
        </a:buBlip>
        <a:defRPr sz="1333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0" indent="0" algn="l" defTabSz="914377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333" b="1" i="0" kern="1200">
          <a:solidFill>
            <a:schemeClr val="accent1"/>
          </a:solidFill>
          <a:latin typeface="+mj-lt"/>
          <a:ea typeface="Verdana" panose="020B0604030504040204" pitchFamily="34" charset="0"/>
          <a:cs typeface="Georgia" panose="02040502050405020303" pitchFamily="18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13" Type="http://schemas.openxmlformats.org/officeDocument/2006/relationships/image" Target="../media/image51.png"/><Relationship Id="rId18" Type="http://schemas.openxmlformats.org/officeDocument/2006/relationships/image" Target="../media/image56.sv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5.png"/><Relationship Id="rId12" Type="http://schemas.openxmlformats.org/officeDocument/2006/relationships/image" Target="../media/image50.svg"/><Relationship Id="rId17" Type="http://schemas.openxmlformats.org/officeDocument/2006/relationships/image" Target="../media/image55.png"/><Relationship Id="rId2" Type="http://schemas.openxmlformats.org/officeDocument/2006/relationships/tags" Target="../tags/tag100.xml"/><Relationship Id="rId16" Type="http://schemas.openxmlformats.org/officeDocument/2006/relationships/image" Target="../media/image54.svg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11" Type="http://schemas.openxmlformats.org/officeDocument/2006/relationships/image" Target="../media/image49.png"/><Relationship Id="rId5" Type="http://schemas.openxmlformats.org/officeDocument/2006/relationships/oleObject" Target="../embeddings/oleObject35.bin"/><Relationship Id="rId15" Type="http://schemas.openxmlformats.org/officeDocument/2006/relationships/image" Target="../media/image53.png"/><Relationship Id="rId10" Type="http://schemas.openxmlformats.org/officeDocument/2006/relationships/image" Target="../media/image48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7.png"/><Relationship Id="rId14" Type="http://schemas.openxmlformats.org/officeDocument/2006/relationships/image" Target="../media/image52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emf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microsoft.com/office/2007/relationships/hdphoto" Target="../media/hdphoto1.wdp"/><Relationship Id="rId12" Type="http://schemas.openxmlformats.org/officeDocument/2006/relationships/image" Target="../media/image62.svg"/><Relationship Id="rId2" Type="http://schemas.openxmlformats.org/officeDocument/2006/relationships/tags" Target="../tags/tag10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7.png"/><Relationship Id="rId11" Type="http://schemas.openxmlformats.org/officeDocument/2006/relationships/image" Target="../media/image61.png"/><Relationship Id="rId5" Type="http://schemas.openxmlformats.org/officeDocument/2006/relationships/image" Target="../media/image1.emf"/><Relationship Id="rId10" Type="http://schemas.openxmlformats.org/officeDocument/2006/relationships/image" Target="../media/image60.emf"/><Relationship Id="rId4" Type="http://schemas.openxmlformats.org/officeDocument/2006/relationships/oleObject" Target="../embeddings/oleObject36.bin"/><Relationship Id="rId9" Type="http://schemas.openxmlformats.org/officeDocument/2006/relationships/image" Target="../media/image5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64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3.png"/><Relationship Id="rId11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7.png"/><Relationship Id="rId4" Type="http://schemas.openxmlformats.org/officeDocument/2006/relationships/oleObject" Target="../embeddings/oleObject38.bin"/><Relationship Id="rId9" Type="http://schemas.openxmlformats.org/officeDocument/2006/relationships/image" Target="../media/image6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4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69.png"/><Relationship Id="rId12" Type="http://schemas.openxmlformats.org/officeDocument/2006/relationships/image" Target="../media/image2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8.png"/><Relationship Id="rId11" Type="http://schemas.openxmlformats.org/officeDocument/2006/relationships/image" Target="../media/image73.png"/><Relationship Id="rId5" Type="http://schemas.openxmlformats.org/officeDocument/2006/relationships/image" Target="../media/image1.emf"/><Relationship Id="rId15" Type="http://schemas.openxmlformats.org/officeDocument/2006/relationships/image" Target="../media/image76.png"/><Relationship Id="rId10" Type="http://schemas.openxmlformats.org/officeDocument/2006/relationships/image" Target="../media/image72.png"/><Relationship Id="rId4" Type="http://schemas.openxmlformats.org/officeDocument/2006/relationships/oleObject" Target="../embeddings/oleObject39.bin"/><Relationship Id="rId9" Type="http://schemas.openxmlformats.org/officeDocument/2006/relationships/image" Target="../media/image71.png"/><Relationship Id="rId14" Type="http://schemas.openxmlformats.org/officeDocument/2006/relationships/image" Target="../media/image7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77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78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77.png"/><Relationship Id="rId4" Type="http://schemas.openxmlformats.org/officeDocument/2006/relationships/oleObject" Target="../embeddings/oleObject41.bin"/><Relationship Id="rId9" Type="http://schemas.openxmlformats.org/officeDocument/2006/relationships/image" Target="../media/image80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58.xml"/><Relationship Id="rId21" Type="http://schemas.openxmlformats.org/officeDocument/2006/relationships/tags" Target="../tags/tag53.xml"/><Relationship Id="rId42" Type="http://schemas.openxmlformats.org/officeDocument/2006/relationships/tags" Target="../tags/tag74.xml"/><Relationship Id="rId47" Type="http://schemas.openxmlformats.org/officeDocument/2006/relationships/tags" Target="../tags/tag79.xml"/><Relationship Id="rId63" Type="http://schemas.openxmlformats.org/officeDocument/2006/relationships/notesSlide" Target="../notesSlides/notesSlide1.xml"/><Relationship Id="rId68" Type="http://schemas.openxmlformats.org/officeDocument/2006/relationships/chart" Target="../charts/chart2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9" Type="http://schemas.openxmlformats.org/officeDocument/2006/relationships/tags" Target="../tags/tag61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32" Type="http://schemas.openxmlformats.org/officeDocument/2006/relationships/tags" Target="../tags/tag64.xml"/><Relationship Id="rId37" Type="http://schemas.openxmlformats.org/officeDocument/2006/relationships/tags" Target="../tags/tag69.xml"/><Relationship Id="rId40" Type="http://schemas.openxmlformats.org/officeDocument/2006/relationships/tags" Target="../tags/tag72.xml"/><Relationship Id="rId45" Type="http://schemas.openxmlformats.org/officeDocument/2006/relationships/tags" Target="../tags/tag77.xml"/><Relationship Id="rId53" Type="http://schemas.openxmlformats.org/officeDocument/2006/relationships/tags" Target="../tags/tag85.xml"/><Relationship Id="rId58" Type="http://schemas.openxmlformats.org/officeDocument/2006/relationships/tags" Target="../tags/tag90.xml"/><Relationship Id="rId66" Type="http://schemas.openxmlformats.org/officeDocument/2006/relationships/chart" Target="../charts/chart1.xml"/><Relationship Id="rId5" Type="http://schemas.openxmlformats.org/officeDocument/2006/relationships/tags" Target="../tags/tag37.xml"/><Relationship Id="rId61" Type="http://schemas.openxmlformats.org/officeDocument/2006/relationships/tags" Target="../tags/tag93.xml"/><Relationship Id="rId19" Type="http://schemas.openxmlformats.org/officeDocument/2006/relationships/tags" Target="../tags/tag5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tags" Target="../tags/tag59.xml"/><Relationship Id="rId30" Type="http://schemas.openxmlformats.org/officeDocument/2006/relationships/tags" Target="../tags/tag62.xml"/><Relationship Id="rId35" Type="http://schemas.openxmlformats.org/officeDocument/2006/relationships/tags" Target="../tags/tag67.xml"/><Relationship Id="rId43" Type="http://schemas.openxmlformats.org/officeDocument/2006/relationships/tags" Target="../tags/tag75.xml"/><Relationship Id="rId48" Type="http://schemas.openxmlformats.org/officeDocument/2006/relationships/tags" Target="../tags/tag80.xml"/><Relationship Id="rId56" Type="http://schemas.openxmlformats.org/officeDocument/2006/relationships/tags" Target="../tags/tag88.xml"/><Relationship Id="rId64" Type="http://schemas.openxmlformats.org/officeDocument/2006/relationships/oleObject" Target="../embeddings/oleObject28.bin"/><Relationship Id="rId69" Type="http://schemas.openxmlformats.org/officeDocument/2006/relationships/hyperlink" Target="https://www.cdc.gov/flu/about/burden/past-seasons.html" TargetMode="External"/><Relationship Id="rId8" Type="http://schemas.openxmlformats.org/officeDocument/2006/relationships/tags" Target="../tags/tag40.xml"/><Relationship Id="rId51" Type="http://schemas.openxmlformats.org/officeDocument/2006/relationships/tags" Target="../tags/tag83.xml"/><Relationship Id="rId3" Type="http://schemas.openxmlformats.org/officeDocument/2006/relationships/tags" Target="../tags/tag35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tags" Target="../tags/tag57.xml"/><Relationship Id="rId33" Type="http://schemas.openxmlformats.org/officeDocument/2006/relationships/tags" Target="../tags/tag65.xml"/><Relationship Id="rId38" Type="http://schemas.openxmlformats.org/officeDocument/2006/relationships/tags" Target="../tags/tag70.xml"/><Relationship Id="rId46" Type="http://schemas.openxmlformats.org/officeDocument/2006/relationships/tags" Target="../tags/tag78.xml"/><Relationship Id="rId59" Type="http://schemas.openxmlformats.org/officeDocument/2006/relationships/tags" Target="../tags/tag91.xml"/><Relationship Id="rId67" Type="http://schemas.openxmlformats.org/officeDocument/2006/relationships/image" Target="../media/image2.png"/><Relationship Id="rId20" Type="http://schemas.openxmlformats.org/officeDocument/2006/relationships/tags" Target="../tags/tag52.xml"/><Relationship Id="rId41" Type="http://schemas.openxmlformats.org/officeDocument/2006/relationships/tags" Target="../tags/tag73.xml"/><Relationship Id="rId54" Type="http://schemas.openxmlformats.org/officeDocument/2006/relationships/tags" Target="../tags/tag86.xml"/><Relationship Id="rId62" Type="http://schemas.openxmlformats.org/officeDocument/2006/relationships/slideLayout" Target="../slideLayouts/slideLayout14.xml"/><Relationship Id="rId70" Type="http://schemas.openxmlformats.org/officeDocument/2006/relationships/hyperlink" Target="https://www.cdc.gov/flu/about/burden/preliminary-in-season-estimates.htm" TargetMode="External"/><Relationship Id="rId1" Type="http://schemas.openxmlformats.org/officeDocument/2006/relationships/vmlDrawing" Target="../drawings/vmlDrawing28.vml"/><Relationship Id="rId6" Type="http://schemas.openxmlformats.org/officeDocument/2006/relationships/tags" Target="../tags/tag38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tags" Target="../tags/tag60.xml"/><Relationship Id="rId36" Type="http://schemas.openxmlformats.org/officeDocument/2006/relationships/tags" Target="../tags/tag68.xml"/><Relationship Id="rId49" Type="http://schemas.openxmlformats.org/officeDocument/2006/relationships/tags" Target="../tags/tag81.xml"/><Relationship Id="rId57" Type="http://schemas.openxmlformats.org/officeDocument/2006/relationships/tags" Target="../tags/tag89.xml"/><Relationship Id="rId10" Type="http://schemas.openxmlformats.org/officeDocument/2006/relationships/tags" Target="../tags/tag42.xml"/><Relationship Id="rId31" Type="http://schemas.openxmlformats.org/officeDocument/2006/relationships/tags" Target="../tags/tag63.xml"/><Relationship Id="rId44" Type="http://schemas.openxmlformats.org/officeDocument/2006/relationships/tags" Target="../tags/tag76.xml"/><Relationship Id="rId52" Type="http://schemas.openxmlformats.org/officeDocument/2006/relationships/tags" Target="../tags/tag84.xml"/><Relationship Id="rId60" Type="http://schemas.openxmlformats.org/officeDocument/2006/relationships/tags" Target="../tags/tag92.xml"/><Relationship Id="rId65" Type="http://schemas.openxmlformats.org/officeDocument/2006/relationships/image" Target="../media/image1.emf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39" Type="http://schemas.openxmlformats.org/officeDocument/2006/relationships/tags" Target="../tags/tag71.xml"/><Relationship Id="rId34" Type="http://schemas.openxmlformats.org/officeDocument/2006/relationships/tags" Target="../tags/tag66.xml"/><Relationship Id="rId50" Type="http://schemas.openxmlformats.org/officeDocument/2006/relationships/tags" Target="../tags/tag82.xml"/><Relationship Id="rId55" Type="http://schemas.openxmlformats.org/officeDocument/2006/relationships/tags" Target="../tags/tag8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ho.int/tools/flunet/flunet-summary" TargetMode="External"/><Relationship Id="rId3" Type="http://schemas.openxmlformats.org/officeDocument/2006/relationships/slideLayout" Target="../slideLayouts/slideLayout14.xml"/><Relationship Id="rId7" Type="http://schemas.openxmlformats.org/officeDocument/2006/relationships/hyperlink" Target="https://www1.health.gov.au/internet/main/publishing.nsf/Content/cda-surveil-ozflu-flucurr.htm/$File/flu-07-2022.pdf" TargetMode="External"/><Relationship Id="rId2" Type="http://schemas.openxmlformats.org/officeDocument/2006/relationships/tags" Target="../tags/tag9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chart" Target="../charts/chart3.xml"/><Relationship Id="rId2" Type="http://schemas.openxmlformats.org/officeDocument/2006/relationships/tags" Target="../tags/tag9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cdn.who.int/media/docs/default-source/influenza/who-influenza-recommendations/vcm-northern-hemisphere-recommendation-2022-2023/202202_recommendation.pdf?sfvrsn=5c88e006_13&amp;download=true" TargetMode="External"/><Relationship Id="rId3" Type="http://schemas.openxmlformats.org/officeDocument/2006/relationships/slideLayout" Target="../slideLayouts/slideLayout14.xml"/><Relationship Id="rId7" Type="http://schemas.openxmlformats.org/officeDocument/2006/relationships/hyperlink" Target="https://www.fda.gov/vaccines-blood-biologics/lot-release/influenza-vaccine-2022-2023-season#:~:text=The%20committee%20recommended%20that%20the%20quadrivalent%20formulation%20of%20cell%2D%20or,B%2FVictoria%20lineage)%3B%20and" TargetMode="External"/><Relationship Id="rId2" Type="http://schemas.openxmlformats.org/officeDocument/2006/relationships/tags" Target="../tags/tag9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3.xml"/><Relationship Id="rId9" Type="http://schemas.openxmlformats.org/officeDocument/2006/relationships/hyperlink" Target="https://www.fda.gov/vaccines-blood-biologics/lot-release/influenza-vaccine-2021-2022-season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diagramData" Target="../diagrams/data2.xml"/><Relationship Id="rId18" Type="http://schemas.openxmlformats.org/officeDocument/2006/relationships/image" Target="../media/image31.svg"/><Relationship Id="rId26" Type="http://schemas.openxmlformats.org/officeDocument/2006/relationships/image" Target="../media/image39.sv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34.png"/><Relationship Id="rId7" Type="http://schemas.openxmlformats.org/officeDocument/2006/relationships/hyperlink" Target="https://www.cdc.gov/flu/highrisk/index.htm" TargetMode="External"/><Relationship Id="rId12" Type="http://schemas.microsoft.com/office/2007/relationships/diagramDrawing" Target="../diagrams/drawing1.xml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2" Type="http://schemas.openxmlformats.org/officeDocument/2006/relationships/tags" Target="../tags/tag97.xml"/><Relationship Id="rId16" Type="http://schemas.openxmlformats.org/officeDocument/2006/relationships/diagramColors" Target="../diagrams/colors10.xml"/><Relationship Id="rId20" Type="http://schemas.openxmlformats.org/officeDocument/2006/relationships/image" Target="../media/image33.svg"/><Relationship Id="rId1" Type="http://schemas.openxmlformats.org/officeDocument/2006/relationships/vmlDrawing" Target="../drawings/vmlDrawing32.vml"/><Relationship Id="rId6" Type="http://schemas.openxmlformats.org/officeDocument/2006/relationships/hyperlink" Target="https://www.cdc.gov/flu/prevent/keyfacts.htm" TargetMode="External"/><Relationship Id="rId11" Type="http://schemas.openxmlformats.org/officeDocument/2006/relationships/diagramColors" Target="../diagrams/colors1.xml"/><Relationship Id="rId24" Type="http://schemas.openxmlformats.org/officeDocument/2006/relationships/image" Target="../media/image37.svg"/><Relationship Id="rId5" Type="http://schemas.openxmlformats.org/officeDocument/2006/relationships/image" Target="../media/image1.emf"/><Relationship Id="rId15" Type="http://schemas.openxmlformats.org/officeDocument/2006/relationships/diagramQuickStyle" Target="../diagrams/quickStyle10.xml"/><Relationship Id="rId23" Type="http://schemas.openxmlformats.org/officeDocument/2006/relationships/image" Target="../media/image36.png"/><Relationship Id="rId28" Type="http://schemas.openxmlformats.org/officeDocument/2006/relationships/image" Target="../media/image41.svg"/><Relationship Id="rId10" Type="http://schemas.openxmlformats.org/officeDocument/2006/relationships/diagramQuickStyle" Target="../diagrams/quickStyle1.xml"/><Relationship Id="rId19" Type="http://schemas.openxmlformats.org/officeDocument/2006/relationships/image" Target="../media/image32.png"/><Relationship Id="rId4" Type="http://schemas.openxmlformats.org/officeDocument/2006/relationships/oleObject" Target="../embeddings/oleObject32.bin"/><Relationship Id="rId9" Type="http://schemas.openxmlformats.org/officeDocument/2006/relationships/diagramLayout" Target="../diagrams/layout1.xml"/><Relationship Id="rId14" Type="http://schemas.openxmlformats.org/officeDocument/2006/relationships/diagramLayout" Target="../diagrams/layout10.xml"/><Relationship Id="rId22" Type="http://schemas.openxmlformats.org/officeDocument/2006/relationships/image" Target="../media/image35.svg"/><Relationship Id="rId27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98.xml"/><Relationship Id="rId1" Type="http://schemas.openxmlformats.org/officeDocument/2006/relationships/vmlDrawing" Target="../drawings/vmlDrawing33.vml"/><Relationship Id="rId6" Type="http://schemas.openxmlformats.org/officeDocument/2006/relationships/hyperlink" Target="https://www.cdc.gov/media/releases/2022/s0630-seniors-flu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.png"/><Relationship Id="rId12" Type="http://schemas.openxmlformats.org/officeDocument/2006/relationships/hyperlink" Target="https://www.cdc.gov/vaccines/hcp/admin/administer-vaccines.html" TargetMode="External"/><Relationship Id="rId2" Type="http://schemas.openxmlformats.org/officeDocument/2006/relationships/tags" Target="../tags/tag9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11" Type="http://schemas.openxmlformats.org/officeDocument/2006/relationships/hyperlink" Target="https://www.cdc.gov/flu/season/faq-flu-season-2021-2022.htm" TargetMode="External"/><Relationship Id="rId5" Type="http://schemas.openxmlformats.org/officeDocument/2006/relationships/oleObject" Target="../embeddings/oleObject34.bin"/><Relationship Id="rId10" Type="http://schemas.openxmlformats.org/officeDocument/2006/relationships/hyperlink" Target="https://www.cdc.gov/vaccines/covid-19/clinical-considerations/covid-19-vaccines-us.html" TargetMode="External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7ACE60-7C44-47B5-A3DE-792ACF0F2E8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C086DB-68BA-4C22-96CB-19490192108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851DCD-C709-4FFB-A654-B79F0F1A2F1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EA460F2-9D75-40E8-BAD6-BEF8E4AF334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Placeholder 8" descr="A group of people standing together&#10;&#10;Description automatically generated with medium confidence">
            <a:extLst>
              <a:ext uri="{FF2B5EF4-FFF2-40B4-BE49-F238E27FC236}">
                <a16:creationId xmlns:a16="http://schemas.microsoft.com/office/drawing/2014/main" id="{098F7083-6540-4C31-91A2-2B06E0D532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4" r="4445" b="1"/>
          <a:stretch/>
        </p:blipFill>
        <p:spPr>
          <a:xfrm>
            <a:off x="0" y="-156339"/>
            <a:ext cx="12191999" cy="7105779"/>
          </a:xfrm>
          <a:custGeom>
            <a:avLst/>
            <a:gdLst>
              <a:gd name="connsiteX0" fmla="*/ 351363 w 9143999"/>
              <a:gd name="connsiteY0" fmla="*/ 4913481 h 5143500"/>
              <a:gd name="connsiteX1" fmla="*/ 331613 w 9143999"/>
              <a:gd name="connsiteY1" fmla="*/ 4933530 h 5143500"/>
              <a:gd name="connsiteX2" fmla="*/ 352237 w 9143999"/>
              <a:gd name="connsiteY2" fmla="*/ 4953582 h 5143500"/>
              <a:gd name="connsiteX3" fmla="*/ 371987 w 9143999"/>
              <a:gd name="connsiteY3" fmla="*/ 4933533 h 5143500"/>
              <a:gd name="connsiteX4" fmla="*/ 351363 w 9143999"/>
              <a:gd name="connsiteY4" fmla="*/ 4913481 h 5143500"/>
              <a:gd name="connsiteX5" fmla="*/ 892593 w 9143999"/>
              <a:gd name="connsiteY5" fmla="*/ 4837587 h 5143500"/>
              <a:gd name="connsiteX6" fmla="*/ 917846 w 9143999"/>
              <a:gd name="connsiteY6" fmla="*/ 4847631 h 5143500"/>
              <a:gd name="connsiteX7" fmla="*/ 927648 w 9143999"/>
              <a:gd name="connsiteY7" fmla="*/ 4877990 h 5143500"/>
              <a:gd name="connsiteX8" fmla="*/ 918100 w 9143999"/>
              <a:gd name="connsiteY8" fmla="*/ 4908353 h 5143500"/>
              <a:gd name="connsiteX9" fmla="*/ 894866 w 9143999"/>
              <a:gd name="connsiteY9" fmla="*/ 4918277 h 5143500"/>
              <a:gd name="connsiteX10" fmla="*/ 868933 w 9143999"/>
              <a:gd name="connsiteY10" fmla="*/ 4908080 h 5143500"/>
              <a:gd name="connsiteX11" fmla="*/ 859062 w 9143999"/>
              <a:gd name="connsiteY11" fmla="*/ 4877877 h 5143500"/>
              <a:gd name="connsiteX12" fmla="*/ 868678 w 9143999"/>
              <a:gd name="connsiteY12" fmla="*/ 4847677 h 5143500"/>
              <a:gd name="connsiteX13" fmla="*/ 559057 w 9143999"/>
              <a:gd name="connsiteY13" fmla="*/ 4837499 h 5143500"/>
              <a:gd name="connsiteX14" fmla="*/ 578336 w 9143999"/>
              <a:gd name="connsiteY14" fmla="*/ 4840021 h 5143500"/>
              <a:gd name="connsiteX15" fmla="*/ 585643 w 9143999"/>
              <a:gd name="connsiteY15" fmla="*/ 4847817 h 5143500"/>
              <a:gd name="connsiteX16" fmla="*/ 585643 w 9143999"/>
              <a:gd name="connsiteY16" fmla="*/ 4907937 h 5143500"/>
              <a:gd name="connsiteX17" fmla="*/ 578336 w 9143999"/>
              <a:gd name="connsiteY17" fmla="*/ 4915741 h 5143500"/>
              <a:gd name="connsiteX18" fmla="*/ 558605 w 9143999"/>
              <a:gd name="connsiteY18" fmla="*/ 4918322 h 5143500"/>
              <a:gd name="connsiteX19" fmla="*/ 534559 w 9143999"/>
              <a:gd name="connsiteY19" fmla="*/ 4909442 h 5143500"/>
              <a:gd name="connsiteX20" fmla="*/ 523519 w 9143999"/>
              <a:gd name="connsiteY20" fmla="*/ 4877990 h 5143500"/>
              <a:gd name="connsiteX21" fmla="*/ 534559 w 9143999"/>
              <a:gd name="connsiteY21" fmla="*/ 4846542 h 5143500"/>
              <a:gd name="connsiteX22" fmla="*/ 1101680 w 9143999"/>
              <a:gd name="connsiteY22" fmla="*/ 4805359 h 5143500"/>
              <a:gd name="connsiteX23" fmla="*/ 1095864 w 9143999"/>
              <a:gd name="connsiteY23" fmla="*/ 4811167 h 5143500"/>
              <a:gd name="connsiteX24" fmla="*/ 1095864 w 9143999"/>
              <a:gd name="connsiteY24" fmla="*/ 4944812 h 5143500"/>
              <a:gd name="connsiteX25" fmla="*/ 1101680 w 9143999"/>
              <a:gd name="connsiteY25" fmla="*/ 4950628 h 5143500"/>
              <a:gd name="connsiteX26" fmla="*/ 1127823 w 9143999"/>
              <a:gd name="connsiteY26" fmla="*/ 4950628 h 5143500"/>
              <a:gd name="connsiteX27" fmla="*/ 1128318 w 9143999"/>
              <a:gd name="connsiteY27" fmla="*/ 4950134 h 5143500"/>
              <a:gd name="connsiteX28" fmla="*/ 1130431 w 9143999"/>
              <a:gd name="connsiteY28" fmla="*/ 4950134 h 5143500"/>
              <a:gd name="connsiteX29" fmla="*/ 1136285 w 9143999"/>
              <a:gd name="connsiteY29" fmla="*/ 4944348 h 5143500"/>
              <a:gd name="connsiteX30" fmla="*/ 1136285 w 9143999"/>
              <a:gd name="connsiteY30" fmla="*/ 4811405 h 5143500"/>
              <a:gd name="connsiteX31" fmla="*/ 1130431 w 9143999"/>
              <a:gd name="connsiteY31" fmla="*/ 4805627 h 5143500"/>
              <a:gd name="connsiteX32" fmla="*/ 1128092 w 9143999"/>
              <a:gd name="connsiteY32" fmla="*/ 4805627 h 5143500"/>
              <a:gd name="connsiteX33" fmla="*/ 1127823 w 9143999"/>
              <a:gd name="connsiteY33" fmla="*/ 4805359 h 5143500"/>
              <a:gd name="connsiteX34" fmla="*/ 891920 w 9143999"/>
              <a:gd name="connsiteY34" fmla="*/ 4802455 h 5143500"/>
              <a:gd name="connsiteX35" fmla="*/ 819859 w 9143999"/>
              <a:gd name="connsiteY35" fmla="*/ 4877990 h 5143500"/>
              <a:gd name="connsiteX36" fmla="*/ 893949 w 9143999"/>
              <a:gd name="connsiteY36" fmla="*/ 4953533 h 5143500"/>
              <a:gd name="connsiteX37" fmla="*/ 923593 w 9143999"/>
              <a:gd name="connsiteY37" fmla="*/ 4947899 h 5143500"/>
              <a:gd name="connsiteX38" fmla="*/ 924071 w 9143999"/>
              <a:gd name="connsiteY38" fmla="*/ 4947569 h 5143500"/>
              <a:gd name="connsiteX39" fmla="*/ 924870 w 9143999"/>
              <a:gd name="connsiteY39" fmla="*/ 4947419 h 5143500"/>
              <a:gd name="connsiteX40" fmla="*/ 967553 w 9143999"/>
              <a:gd name="connsiteY40" fmla="*/ 4877877 h 5143500"/>
              <a:gd name="connsiteX41" fmla="*/ 924008 w 9143999"/>
              <a:gd name="connsiteY41" fmla="*/ 4808342 h 5143500"/>
              <a:gd name="connsiteX42" fmla="*/ 922787 w 9143999"/>
              <a:gd name="connsiteY42" fmla="*/ 4808121 h 5143500"/>
              <a:gd name="connsiteX43" fmla="*/ 922737 w 9143999"/>
              <a:gd name="connsiteY43" fmla="*/ 4808088 h 5143500"/>
              <a:gd name="connsiteX44" fmla="*/ 891920 w 9143999"/>
              <a:gd name="connsiteY44" fmla="*/ 4802455 h 5143500"/>
              <a:gd name="connsiteX45" fmla="*/ 725443 w 9143999"/>
              <a:gd name="connsiteY45" fmla="*/ 4802455 h 5143500"/>
              <a:gd name="connsiteX46" fmla="*/ 667045 w 9143999"/>
              <a:gd name="connsiteY46" fmla="*/ 4812907 h 5143500"/>
              <a:gd name="connsiteX47" fmla="*/ 666933 w 9143999"/>
              <a:gd name="connsiteY47" fmla="*/ 4813086 h 5143500"/>
              <a:gd name="connsiteX48" fmla="*/ 666650 w 9143999"/>
              <a:gd name="connsiteY48" fmla="*/ 4813136 h 5143500"/>
              <a:gd name="connsiteX49" fmla="*/ 659335 w 9143999"/>
              <a:gd name="connsiteY49" fmla="*/ 4824699 h 5143500"/>
              <a:gd name="connsiteX50" fmla="*/ 659335 w 9143999"/>
              <a:gd name="connsiteY50" fmla="*/ 4944348 h 5143500"/>
              <a:gd name="connsiteX51" fmla="*/ 659777 w 9143999"/>
              <a:gd name="connsiteY51" fmla="*/ 4944785 h 5143500"/>
              <a:gd name="connsiteX52" fmla="*/ 659777 w 9143999"/>
              <a:gd name="connsiteY52" fmla="*/ 4944812 h 5143500"/>
              <a:gd name="connsiteX53" fmla="*/ 665593 w 9143999"/>
              <a:gd name="connsiteY53" fmla="*/ 4950628 h 5143500"/>
              <a:gd name="connsiteX54" fmla="*/ 691736 w 9143999"/>
              <a:gd name="connsiteY54" fmla="*/ 4950628 h 5143500"/>
              <a:gd name="connsiteX55" fmla="*/ 697552 w 9143999"/>
              <a:gd name="connsiteY55" fmla="*/ 4944812 h 5143500"/>
              <a:gd name="connsiteX56" fmla="*/ 697552 w 9143999"/>
              <a:gd name="connsiteY56" fmla="*/ 4847194 h 5143500"/>
              <a:gd name="connsiteX57" fmla="*/ 704448 w 9143999"/>
              <a:gd name="connsiteY57" fmla="*/ 4839717 h 5143500"/>
              <a:gd name="connsiteX58" fmla="*/ 726010 w 9143999"/>
              <a:gd name="connsiteY58" fmla="*/ 4837419 h 5143500"/>
              <a:gd name="connsiteX59" fmla="*/ 746013 w 9143999"/>
              <a:gd name="connsiteY59" fmla="*/ 4843168 h 5143500"/>
              <a:gd name="connsiteX60" fmla="*/ 754202 w 9143999"/>
              <a:gd name="connsiteY60" fmla="*/ 4862009 h 5143500"/>
              <a:gd name="connsiteX61" fmla="*/ 754202 w 9143999"/>
              <a:gd name="connsiteY61" fmla="*/ 4944812 h 5143500"/>
              <a:gd name="connsiteX62" fmla="*/ 760018 w 9143999"/>
              <a:gd name="connsiteY62" fmla="*/ 4950628 h 5143500"/>
              <a:gd name="connsiteX63" fmla="*/ 786160 w 9143999"/>
              <a:gd name="connsiteY63" fmla="*/ 4950628 h 5143500"/>
              <a:gd name="connsiteX64" fmla="*/ 791976 w 9143999"/>
              <a:gd name="connsiteY64" fmla="*/ 4944812 h 5143500"/>
              <a:gd name="connsiteX65" fmla="*/ 791976 w 9143999"/>
              <a:gd name="connsiteY65" fmla="*/ 4944762 h 5143500"/>
              <a:gd name="connsiteX66" fmla="*/ 792395 w 9143999"/>
              <a:gd name="connsiteY66" fmla="*/ 4944348 h 5143500"/>
              <a:gd name="connsiteX67" fmla="*/ 792395 w 9143999"/>
              <a:gd name="connsiteY67" fmla="*/ 4857065 h 5143500"/>
              <a:gd name="connsiteX68" fmla="*/ 775798 w 9143999"/>
              <a:gd name="connsiteY68" fmla="*/ 4816682 h 5143500"/>
              <a:gd name="connsiteX69" fmla="*/ 775543 w 9143999"/>
              <a:gd name="connsiteY69" fmla="*/ 4816611 h 5143500"/>
              <a:gd name="connsiteX70" fmla="*/ 775486 w 9143999"/>
              <a:gd name="connsiteY70" fmla="*/ 4816471 h 5143500"/>
              <a:gd name="connsiteX71" fmla="*/ 725443 w 9143999"/>
              <a:gd name="connsiteY71" fmla="*/ 4802455 h 5143500"/>
              <a:gd name="connsiteX72" fmla="*/ 559834 w 9143999"/>
              <a:gd name="connsiteY72" fmla="*/ 4802455 h 5143500"/>
              <a:gd name="connsiteX73" fmla="*/ 529662 w 9143999"/>
              <a:gd name="connsiteY73" fmla="*/ 4807762 h 5143500"/>
              <a:gd name="connsiteX74" fmla="*/ 529594 w 9143999"/>
              <a:gd name="connsiteY74" fmla="*/ 4807805 h 5143500"/>
              <a:gd name="connsiteX75" fmla="*/ 528372 w 9143999"/>
              <a:gd name="connsiteY75" fmla="*/ 4808018 h 5143500"/>
              <a:gd name="connsiteX76" fmla="*/ 483586 w 9143999"/>
              <a:gd name="connsiteY76" fmla="*/ 4877877 h 5143500"/>
              <a:gd name="connsiteX77" fmla="*/ 526397 w 9143999"/>
              <a:gd name="connsiteY77" fmla="*/ 4947825 h 5143500"/>
              <a:gd name="connsiteX78" fmla="*/ 527142 w 9143999"/>
              <a:gd name="connsiteY78" fmla="*/ 4947947 h 5143500"/>
              <a:gd name="connsiteX79" fmla="*/ 527700 w 9143999"/>
              <a:gd name="connsiteY79" fmla="*/ 4948307 h 5143500"/>
              <a:gd name="connsiteX80" fmla="*/ 559257 w 9143999"/>
              <a:gd name="connsiteY80" fmla="*/ 4953533 h 5143500"/>
              <a:gd name="connsiteX81" fmla="*/ 617069 w 9143999"/>
              <a:gd name="connsiteY81" fmla="*/ 4941908 h 5143500"/>
              <a:gd name="connsiteX82" fmla="*/ 624337 w 9143999"/>
              <a:gd name="connsiteY82" fmla="*/ 4930284 h 5143500"/>
              <a:gd name="connsiteX83" fmla="*/ 624337 w 9143999"/>
              <a:gd name="connsiteY83" fmla="*/ 4824821 h 5143500"/>
              <a:gd name="connsiteX84" fmla="*/ 617069 w 9143999"/>
              <a:gd name="connsiteY84" fmla="*/ 4813204 h 5143500"/>
              <a:gd name="connsiteX85" fmla="*/ 559834 w 9143999"/>
              <a:gd name="connsiteY85" fmla="*/ 4802455 h 5143500"/>
              <a:gd name="connsiteX86" fmla="*/ 398011 w 9143999"/>
              <a:gd name="connsiteY86" fmla="*/ 4801292 h 5143500"/>
              <a:gd name="connsiteX87" fmla="*/ 395922 w 9143999"/>
              <a:gd name="connsiteY87" fmla="*/ 4801589 h 5143500"/>
              <a:gd name="connsiteX88" fmla="*/ 395863 w 9143999"/>
              <a:gd name="connsiteY88" fmla="*/ 4801582 h 5143500"/>
              <a:gd name="connsiteX89" fmla="*/ 331528 w 9143999"/>
              <a:gd name="connsiteY89" fmla="*/ 4853603 h 5143500"/>
              <a:gd name="connsiteX90" fmla="*/ 425688 w 9143999"/>
              <a:gd name="connsiteY90" fmla="*/ 4933656 h 5143500"/>
              <a:gd name="connsiteX91" fmla="*/ 423936 w 9143999"/>
              <a:gd name="connsiteY91" fmla="*/ 4944348 h 5143500"/>
              <a:gd name="connsiteX92" fmla="*/ 423645 w 9143999"/>
              <a:gd name="connsiteY92" fmla="*/ 4946089 h 5143500"/>
              <a:gd name="connsiteX93" fmla="*/ 428029 w 9143999"/>
              <a:gd name="connsiteY93" fmla="*/ 4950134 h 5143500"/>
              <a:gd name="connsiteX94" fmla="*/ 429440 w 9143999"/>
              <a:gd name="connsiteY94" fmla="*/ 4950134 h 5143500"/>
              <a:gd name="connsiteX95" fmla="*/ 429969 w 9143999"/>
              <a:gd name="connsiteY95" fmla="*/ 4950628 h 5143500"/>
              <a:gd name="connsiteX96" fmla="*/ 456121 w 9143999"/>
              <a:gd name="connsiteY96" fmla="*/ 4950628 h 5143500"/>
              <a:gd name="connsiteX97" fmla="*/ 463668 w 9143999"/>
              <a:gd name="connsiteY97" fmla="*/ 4944812 h 5143500"/>
              <a:gd name="connsiteX98" fmla="*/ 465995 w 9143999"/>
              <a:gd name="connsiteY98" fmla="*/ 4928255 h 5143500"/>
              <a:gd name="connsiteX99" fmla="*/ 372445 w 9143999"/>
              <a:gd name="connsiteY99" fmla="*/ 4850972 h 5143500"/>
              <a:gd name="connsiteX100" fmla="*/ 378874 w 9143999"/>
              <a:gd name="connsiteY100" fmla="*/ 4840371 h 5143500"/>
              <a:gd name="connsiteX101" fmla="*/ 395404 w 9143999"/>
              <a:gd name="connsiteY101" fmla="*/ 4836760 h 5143500"/>
              <a:gd name="connsiteX102" fmla="*/ 438848 w 9143999"/>
              <a:gd name="connsiteY102" fmla="*/ 4849557 h 5143500"/>
              <a:gd name="connsiteX103" fmla="*/ 443232 w 9143999"/>
              <a:gd name="connsiteY103" fmla="*/ 4850714 h 5143500"/>
              <a:gd name="connsiteX104" fmla="*/ 443815 w 9143999"/>
              <a:gd name="connsiteY104" fmla="*/ 4850347 h 5143500"/>
              <a:gd name="connsiteX105" fmla="*/ 445074 w 9143999"/>
              <a:gd name="connsiteY105" fmla="*/ 4850684 h 5143500"/>
              <a:gd name="connsiteX106" fmla="*/ 451467 w 9143999"/>
              <a:gd name="connsiteY106" fmla="*/ 4846616 h 5143500"/>
              <a:gd name="connsiteX107" fmla="*/ 460476 w 9143999"/>
              <a:gd name="connsiteY107" fmla="*/ 4827435 h 5143500"/>
              <a:gd name="connsiteX108" fmla="*/ 461639 w 9143999"/>
              <a:gd name="connsiteY108" fmla="*/ 4822502 h 5143500"/>
              <a:gd name="connsiteX109" fmla="*/ 458150 w 9143999"/>
              <a:gd name="connsiteY109" fmla="*/ 4816686 h 5143500"/>
              <a:gd name="connsiteX110" fmla="*/ 398011 w 9143999"/>
              <a:gd name="connsiteY110" fmla="*/ 4801292 h 5143500"/>
              <a:gd name="connsiteX111" fmla="*/ 1053743 w 9143999"/>
              <a:gd name="connsiteY111" fmla="*/ 4747249 h 5143500"/>
              <a:gd name="connsiteX112" fmla="*/ 994181 w 9143999"/>
              <a:gd name="connsiteY112" fmla="*/ 4808264 h 5143500"/>
              <a:gd name="connsiteX113" fmla="*/ 994181 w 9143999"/>
              <a:gd name="connsiteY113" fmla="*/ 4944812 h 5143500"/>
              <a:gd name="connsiteX114" fmla="*/ 999997 w 9143999"/>
              <a:gd name="connsiteY114" fmla="*/ 4950628 h 5143500"/>
              <a:gd name="connsiteX115" fmla="*/ 1025851 w 9143999"/>
              <a:gd name="connsiteY115" fmla="*/ 4950628 h 5143500"/>
              <a:gd name="connsiteX116" fmla="*/ 1026345 w 9143999"/>
              <a:gd name="connsiteY116" fmla="*/ 4950134 h 5143500"/>
              <a:gd name="connsiteX117" fmla="*/ 1027794 w 9143999"/>
              <a:gd name="connsiteY117" fmla="*/ 4950134 h 5143500"/>
              <a:gd name="connsiteX118" fmla="*/ 1033639 w 9143999"/>
              <a:gd name="connsiteY118" fmla="*/ 4944348 h 5143500"/>
              <a:gd name="connsiteX119" fmla="*/ 1033639 w 9143999"/>
              <a:gd name="connsiteY119" fmla="*/ 4837419 h 5143500"/>
              <a:gd name="connsiteX120" fmla="*/ 1070780 w 9143999"/>
              <a:gd name="connsiteY120" fmla="*/ 4837419 h 5143500"/>
              <a:gd name="connsiteX121" fmla="*/ 1076625 w 9143999"/>
              <a:gd name="connsiteY121" fmla="*/ 4831634 h 5143500"/>
              <a:gd name="connsiteX122" fmla="*/ 1076625 w 9143999"/>
              <a:gd name="connsiteY122" fmla="*/ 4811692 h 5143500"/>
              <a:gd name="connsiteX123" fmla="*/ 1070780 w 9143999"/>
              <a:gd name="connsiteY123" fmla="*/ 4805627 h 5143500"/>
              <a:gd name="connsiteX124" fmla="*/ 1068815 w 9143999"/>
              <a:gd name="connsiteY124" fmla="*/ 4805627 h 5143500"/>
              <a:gd name="connsiteX125" fmla="*/ 1068559 w 9143999"/>
              <a:gd name="connsiteY125" fmla="*/ 4805359 h 5143500"/>
              <a:gd name="connsiteX126" fmla="*/ 1033639 w 9143999"/>
              <a:gd name="connsiteY126" fmla="*/ 4805359 h 5143500"/>
              <a:gd name="connsiteX127" fmla="*/ 1033639 w 9143999"/>
              <a:gd name="connsiteY127" fmla="*/ 4802443 h 5143500"/>
              <a:gd name="connsiteX128" fmla="*/ 1056748 w 9143999"/>
              <a:gd name="connsiteY128" fmla="*/ 4778457 h 5143500"/>
              <a:gd name="connsiteX129" fmla="*/ 1071071 w 9143999"/>
              <a:gd name="connsiteY129" fmla="*/ 4779901 h 5143500"/>
              <a:gd name="connsiteX130" fmla="*/ 1076625 w 9143999"/>
              <a:gd name="connsiteY130" fmla="*/ 4774411 h 5143500"/>
              <a:gd name="connsiteX131" fmla="*/ 1079556 w 9143999"/>
              <a:gd name="connsiteY131" fmla="*/ 4759385 h 5143500"/>
              <a:gd name="connsiteX132" fmla="*/ 1080138 w 9143999"/>
              <a:gd name="connsiteY132" fmla="*/ 4755627 h 5143500"/>
              <a:gd name="connsiteX133" fmla="*/ 1074293 w 9143999"/>
              <a:gd name="connsiteY133" fmla="*/ 4749848 h 5143500"/>
              <a:gd name="connsiteX134" fmla="*/ 1072404 w 9143999"/>
              <a:gd name="connsiteY134" fmla="*/ 4749641 h 5143500"/>
              <a:gd name="connsiteX135" fmla="*/ 1072049 w 9143999"/>
              <a:gd name="connsiteY135" fmla="*/ 4749285 h 5143500"/>
              <a:gd name="connsiteX136" fmla="*/ 1053743 w 9143999"/>
              <a:gd name="connsiteY136" fmla="*/ 4747249 h 5143500"/>
              <a:gd name="connsiteX137" fmla="*/ 1115151 w 9143999"/>
              <a:gd name="connsiteY137" fmla="*/ 4747131 h 5143500"/>
              <a:gd name="connsiteX138" fmla="*/ 1095104 w 9143999"/>
              <a:gd name="connsiteY138" fmla="*/ 4767478 h 5143500"/>
              <a:gd name="connsiteX139" fmla="*/ 1116017 w 9143999"/>
              <a:gd name="connsiteY139" fmla="*/ 4787818 h 5143500"/>
              <a:gd name="connsiteX140" fmla="*/ 1136065 w 9143999"/>
              <a:gd name="connsiteY140" fmla="*/ 4767481 h 5143500"/>
              <a:gd name="connsiteX141" fmla="*/ 1115151 w 9143999"/>
              <a:gd name="connsiteY141" fmla="*/ 4747131 h 5143500"/>
              <a:gd name="connsiteX142" fmla="*/ 0 w 9143999"/>
              <a:gd name="connsiteY142" fmla="*/ 0 h 5143500"/>
              <a:gd name="connsiteX143" fmla="*/ 9143999 w 9143999"/>
              <a:gd name="connsiteY143" fmla="*/ 0 h 5143500"/>
              <a:gd name="connsiteX144" fmla="*/ 9143999 w 9143999"/>
              <a:gd name="connsiteY144" fmla="*/ 5143500 h 5143500"/>
              <a:gd name="connsiteX145" fmla="*/ 0 w 9143999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9143999" h="5143500">
                <a:moveTo>
                  <a:pt x="351363" y="4913481"/>
                </a:moveTo>
                <a:cubicBezTo>
                  <a:pt x="339456" y="4913486"/>
                  <a:pt x="331612" y="4921037"/>
                  <a:pt x="331613" y="4933530"/>
                </a:cubicBezTo>
                <a:cubicBezTo>
                  <a:pt x="331608" y="4945734"/>
                  <a:pt x="339456" y="4953580"/>
                  <a:pt x="352237" y="4953582"/>
                </a:cubicBezTo>
                <a:cubicBezTo>
                  <a:pt x="364153" y="4953577"/>
                  <a:pt x="371990" y="4945737"/>
                  <a:pt x="371987" y="4933533"/>
                </a:cubicBezTo>
                <a:cubicBezTo>
                  <a:pt x="371996" y="4921039"/>
                  <a:pt x="364153" y="4913482"/>
                  <a:pt x="351363" y="4913481"/>
                </a:cubicBezTo>
                <a:close/>
                <a:moveTo>
                  <a:pt x="892593" y="4837587"/>
                </a:moveTo>
                <a:lnTo>
                  <a:pt x="917846" y="4847631"/>
                </a:lnTo>
                <a:cubicBezTo>
                  <a:pt x="924091" y="4854457"/>
                  <a:pt x="927648" y="4864625"/>
                  <a:pt x="927648" y="4877990"/>
                </a:cubicBezTo>
                <a:cubicBezTo>
                  <a:pt x="927648" y="4891355"/>
                  <a:pt x="924091" y="4901524"/>
                  <a:pt x="918100" y="4908353"/>
                </a:cubicBezTo>
                <a:lnTo>
                  <a:pt x="894866" y="4918277"/>
                </a:lnTo>
                <a:lnTo>
                  <a:pt x="868933" y="4908080"/>
                </a:lnTo>
                <a:cubicBezTo>
                  <a:pt x="862645" y="4901288"/>
                  <a:pt x="859062" y="4891172"/>
                  <a:pt x="859062" y="4877877"/>
                </a:cubicBezTo>
                <a:cubicBezTo>
                  <a:pt x="859062" y="4864582"/>
                  <a:pt x="862645" y="4854468"/>
                  <a:pt x="868678" y="4847677"/>
                </a:cubicBezTo>
                <a:close/>
                <a:moveTo>
                  <a:pt x="559057" y="4837499"/>
                </a:moveTo>
                <a:lnTo>
                  <a:pt x="578336" y="4840021"/>
                </a:lnTo>
                <a:cubicBezTo>
                  <a:pt x="583309" y="4841465"/>
                  <a:pt x="585643" y="4843483"/>
                  <a:pt x="585643" y="4847817"/>
                </a:cubicBezTo>
                <a:lnTo>
                  <a:pt x="585643" y="4907937"/>
                </a:lnTo>
                <a:cubicBezTo>
                  <a:pt x="585643" y="4912270"/>
                  <a:pt x="583309" y="4914296"/>
                  <a:pt x="578336" y="4915741"/>
                </a:cubicBezTo>
                <a:lnTo>
                  <a:pt x="558605" y="4918322"/>
                </a:lnTo>
                <a:lnTo>
                  <a:pt x="534559" y="4909442"/>
                </a:lnTo>
                <a:cubicBezTo>
                  <a:pt x="527877" y="4902976"/>
                  <a:pt x="523519" y="4892806"/>
                  <a:pt x="523519" y="4877990"/>
                </a:cubicBezTo>
                <a:cubicBezTo>
                  <a:pt x="523519" y="4863173"/>
                  <a:pt x="527877" y="4853005"/>
                  <a:pt x="534559" y="4846542"/>
                </a:cubicBezTo>
                <a:close/>
                <a:moveTo>
                  <a:pt x="1101680" y="4805359"/>
                </a:moveTo>
                <a:cubicBezTo>
                  <a:pt x="1098192" y="4805359"/>
                  <a:pt x="1095864" y="4807677"/>
                  <a:pt x="1095864" y="4811167"/>
                </a:cubicBezTo>
                <a:lnTo>
                  <a:pt x="1095864" y="4944812"/>
                </a:lnTo>
                <a:cubicBezTo>
                  <a:pt x="1095864" y="4948301"/>
                  <a:pt x="1098192" y="4950628"/>
                  <a:pt x="1101680" y="4950628"/>
                </a:cubicBezTo>
                <a:lnTo>
                  <a:pt x="1127823" y="4950628"/>
                </a:lnTo>
                <a:lnTo>
                  <a:pt x="1128318" y="4950134"/>
                </a:lnTo>
                <a:lnTo>
                  <a:pt x="1130431" y="4950134"/>
                </a:lnTo>
                <a:cubicBezTo>
                  <a:pt x="1133944" y="4950134"/>
                  <a:pt x="1136285" y="4947819"/>
                  <a:pt x="1136285" y="4944348"/>
                </a:cubicBezTo>
                <a:lnTo>
                  <a:pt x="1136285" y="4811405"/>
                </a:lnTo>
                <a:cubicBezTo>
                  <a:pt x="1136285" y="4807934"/>
                  <a:pt x="1133944" y="4805627"/>
                  <a:pt x="1130431" y="4805627"/>
                </a:cubicBezTo>
                <a:lnTo>
                  <a:pt x="1128092" y="4805627"/>
                </a:lnTo>
                <a:lnTo>
                  <a:pt x="1127823" y="4805359"/>
                </a:lnTo>
                <a:close/>
                <a:moveTo>
                  <a:pt x="891920" y="4802455"/>
                </a:moveTo>
                <a:cubicBezTo>
                  <a:pt x="848337" y="4802455"/>
                  <a:pt x="819859" y="4834118"/>
                  <a:pt x="819859" y="4877990"/>
                </a:cubicBezTo>
                <a:cubicBezTo>
                  <a:pt x="819859" y="4921862"/>
                  <a:pt x="848337" y="4953533"/>
                  <a:pt x="893949" y="4953533"/>
                </a:cubicBezTo>
                <a:cubicBezTo>
                  <a:pt x="904845" y="4953533"/>
                  <a:pt x="914796" y="4951553"/>
                  <a:pt x="923593" y="4947899"/>
                </a:cubicBezTo>
                <a:lnTo>
                  <a:pt x="924071" y="4947569"/>
                </a:lnTo>
                <a:lnTo>
                  <a:pt x="924870" y="4947419"/>
                </a:lnTo>
                <a:cubicBezTo>
                  <a:pt x="951435" y="4936512"/>
                  <a:pt x="967553" y="4910608"/>
                  <a:pt x="967553" y="4877877"/>
                </a:cubicBezTo>
                <a:cubicBezTo>
                  <a:pt x="967553" y="4845146"/>
                  <a:pt x="951435" y="4819246"/>
                  <a:pt x="924008" y="4808342"/>
                </a:cubicBezTo>
                <a:lnTo>
                  <a:pt x="922787" y="4808121"/>
                </a:lnTo>
                <a:lnTo>
                  <a:pt x="922737" y="4808088"/>
                </a:lnTo>
                <a:cubicBezTo>
                  <a:pt x="913654" y="4804434"/>
                  <a:pt x="903323" y="4802455"/>
                  <a:pt x="891920" y="4802455"/>
                </a:cubicBezTo>
                <a:close/>
                <a:moveTo>
                  <a:pt x="725443" y="4802455"/>
                </a:moveTo>
                <a:cubicBezTo>
                  <a:pt x="708301" y="4802455"/>
                  <a:pt x="688255" y="4805359"/>
                  <a:pt x="667045" y="4812907"/>
                </a:cubicBezTo>
                <a:lnTo>
                  <a:pt x="666933" y="4813086"/>
                </a:lnTo>
                <a:lnTo>
                  <a:pt x="666650" y="4813136"/>
                </a:lnTo>
                <a:cubicBezTo>
                  <a:pt x="662556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7" y="4944785"/>
                </a:lnTo>
                <a:lnTo>
                  <a:pt x="659777" y="4944812"/>
                </a:lnTo>
                <a:cubicBezTo>
                  <a:pt x="659777" y="4948301"/>
                  <a:pt x="662103" y="4950628"/>
                  <a:pt x="665593" y="4950628"/>
                </a:cubicBezTo>
                <a:lnTo>
                  <a:pt x="691736" y="4950628"/>
                </a:lnTo>
                <a:cubicBezTo>
                  <a:pt x="695225" y="4950628"/>
                  <a:pt x="697552" y="4948301"/>
                  <a:pt x="697552" y="4944812"/>
                </a:cubicBezTo>
                <a:lnTo>
                  <a:pt x="697552" y="4847194"/>
                </a:lnTo>
                <a:lnTo>
                  <a:pt x="704448" y="4839717"/>
                </a:lnTo>
                <a:lnTo>
                  <a:pt x="726010" y="4837419"/>
                </a:lnTo>
                <a:lnTo>
                  <a:pt x="746013" y="4843168"/>
                </a:lnTo>
                <a:lnTo>
                  <a:pt x="754202" y="4862009"/>
                </a:lnTo>
                <a:lnTo>
                  <a:pt x="754202" y="4944812"/>
                </a:lnTo>
                <a:cubicBezTo>
                  <a:pt x="754202" y="4948301"/>
                  <a:pt x="756528" y="4950628"/>
                  <a:pt x="760018" y="4950628"/>
                </a:cubicBezTo>
                <a:lnTo>
                  <a:pt x="786160" y="4950628"/>
                </a:lnTo>
                <a:cubicBezTo>
                  <a:pt x="789650" y="4950628"/>
                  <a:pt x="791976" y="4948301"/>
                  <a:pt x="791976" y="4944812"/>
                </a:cubicBezTo>
                <a:lnTo>
                  <a:pt x="791976" y="4944762"/>
                </a:lnTo>
                <a:lnTo>
                  <a:pt x="792395" y="4944348"/>
                </a:lnTo>
                <a:lnTo>
                  <a:pt x="792395" y="4857065"/>
                </a:lnTo>
                <a:cubicBezTo>
                  <a:pt x="792395" y="4839438"/>
                  <a:pt x="786911" y="4825856"/>
                  <a:pt x="775798" y="4816682"/>
                </a:cubicBezTo>
                <a:lnTo>
                  <a:pt x="775543" y="4816611"/>
                </a:lnTo>
                <a:lnTo>
                  <a:pt x="775486" y="4816471"/>
                </a:lnTo>
                <a:cubicBezTo>
                  <a:pt x="764445" y="4807248"/>
                  <a:pt x="747812" y="4802455"/>
                  <a:pt x="725443" y="4802455"/>
                </a:cubicBezTo>
                <a:close/>
                <a:moveTo>
                  <a:pt x="559834" y="4802455"/>
                </a:moveTo>
                <a:cubicBezTo>
                  <a:pt x="548868" y="4802455"/>
                  <a:pt x="538719" y="4804289"/>
                  <a:pt x="529662" y="4807762"/>
                </a:cubicBezTo>
                <a:lnTo>
                  <a:pt x="529594" y="4807805"/>
                </a:lnTo>
                <a:lnTo>
                  <a:pt x="528372" y="4808018"/>
                </a:lnTo>
                <a:cubicBezTo>
                  <a:pt x="501027" y="4818381"/>
                  <a:pt x="483586" y="4843416"/>
                  <a:pt x="483586" y="4877877"/>
                </a:cubicBezTo>
                <a:cubicBezTo>
                  <a:pt x="483586" y="4912775"/>
                  <a:pt x="498720" y="4937596"/>
                  <a:pt x="526397" y="4947825"/>
                </a:cubicBezTo>
                <a:lnTo>
                  <a:pt x="527142" y="4947947"/>
                </a:lnTo>
                <a:lnTo>
                  <a:pt x="527700" y="4948307"/>
                </a:lnTo>
                <a:cubicBezTo>
                  <a:pt x="536866" y="4951735"/>
                  <a:pt x="547417" y="4953533"/>
                  <a:pt x="559257" y="4953533"/>
                </a:cubicBezTo>
                <a:cubicBezTo>
                  <a:pt x="578428" y="4953533"/>
                  <a:pt x="597022" y="4950331"/>
                  <a:pt x="617069" y="4941908"/>
                </a:cubicBezTo>
                <a:cubicBezTo>
                  <a:pt x="621722" y="4939879"/>
                  <a:pt x="624337" y="4936678"/>
                  <a:pt x="624337" y="4930284"/>
                </a:cubicBezTo>
                <a:lnTo>
                  <a:pt x="624337" y="4824821"/>
                </a:lnTo>
                <a:cubicBezTo>
                  <a:pt x="624337" y="4818138"/>
                  <a:pt x="621722" y="4814946"/>
                  <a:pt x="617069" y="4813204"/>
                </a:cubicBezTo>
                <a:cubicBezTo>
                  <a:pt x="597898" y="4805936"/>
                  <a:pt x="579880" y="4802455"/>
                  <a:pt x="559834" y="4802455"/>
                </a:cubicBezTo>
                <a:close/>
                <a:moveTo>
                  <a:pt x="398011" y="4801292"/>
                </a:moveTo>
                <a:lnTo>
                  <a:pt x="395922" y="4801589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6" y="4940590"/>
                  <a:pt x="423936" y="4944348"/>
                </a:cubicBezTo>
                <a:cubicBezTo>
                  <a:pt x="423645" y="4944931"/>
                  <a:pt x="423645" y="4945505"/>
                  <a:pt x="423645" y="4946089"/>
                </a:cubicBezTo>
                <a:cubicBezTo>
                  <a:pt x="423645" y="4948394"/>
                  <a:pt x="425106" y="4950134"/>
                  <a:pt x="428029" y="4950134"/>
                </a:cubicBezTo>
                <a:lnTo>
                  <a:pt x="429440" y="4950134"/>
                </a:lnTo>
                <a:lnTo>
                  <a:pt x="429969" y="4950628"/>
                </a:lnTo>
                <a:lnTo>
                  <a:pt x="456121" y="4950628"/>
                </a:lnTo>
                <a:cubicBezTo>
                  <a:pt x="460476" y="4950628"/>
                  <a:pt x="462216" y="4949176"/>
                  <a:pt x="463668" y="4944812"/>
                </a:cubicBezTo>
                <a:cubicBezTo>
                  <a:pt x="465418" y="4939879"/>
                  <a:pt x="465995" y="4933196"/>
                  <a:pt x="465995" y="4928255"/>
                </a:cubicBezTo>
                <a:cubicBezTo>
                  <a:pt x="465995" y="4862299"/>
                  <a:pt x="372445" y="4878177"/>
                  <a:pt x="372445" y="4850972"/>
                </a:cubicBezTo>
                <a:cubicBezTo>
                  <a:pt x="372445" y="4846523"/>
                  <a:pt x="374698" y="4842891"/>
                  <a:pt x="378874" y="4840371"/>
                </a:cubicBezTo>
                <a:lnTo>
                  <a:pt x="395404" y="4836760"/>
                </a:lnTo>
                <a:lnTo>
                  <a:pt x="438848" y="4849557"/>
                </a:lnTo>
                <a:cubicBezTo>
                  <a:pt x="440310" y="4850418"/>
                  <a:pt x="441771" y="4850714"/>
                  <a:pt x="443232" y="4850714"/>
                </a:cubicBezTo>
                <a:lnTo>
                  <a:pt x="443815" y="4850347"/>
                </a:lnTo>
                <a:lnTo>
                  <a:pt x="445074" y="4850684"/>
                </a:lnTo>
                <a:cubicBezTo>
                  <a:pt x="447689" y="4850684"/>
                  <a:pt x="450305" y="4849231"/>
                  <a:pt x="451467" y="4846616"/>
                </a:cubicBezTo>
                <a:lnTo>
                  <a:pt x="460476" y="4827435"/>
                </a:lnTo>
                <a:cubicBezTo>
                  <a:pt x="461317" y="4825652"/>
                  <a:pt x="461639" y="4823954"/>
                  <a:pt x="461639" y="4822502"/>
                </a:cubicBezTo>
                <a:cubicBezTo>
                  <a:pt x="461639" y="4820176"/>
                  <a:pt x="460485" y="4817858"/>
                  <a:pt x="458150" y="4816686"/>
                </a:cubicBezTo>
                <a:cubicBezTo>
                  <a:pt x="440141" y="4806226"/>
                  <a:pt x="418635" y="4801292"/>
                  <a:pt x="398011" y="4801292"/>
                </a:cubicBezTo>
                <a:close/>
                <a:moveTo>
                  <a:pt x="1053743" y="4747249"/>
                </a:moveTo>
                <a:cubicBezTo>
                  <a:pt x="1017717" y="4747249"/>
                  <a:pt x="994181" y="4766420"/>
                  <a:pt x="994181" y="4808264"/>
                </a:cubicBezTo>
                <a:lnTo>
                  <a:pt x="994181" y="4944812"/>
                </a:lnTo>
                <a:cubicBezTo>
                  <a:pt x="994181" y="4948301"/>
                  <a:pt x="996508" y="4950628"/>
                  <a:pt x="999997" y="4950628"/>
                </a:cubicBezTo>
                <a:lnTo>
                  <a:pt x="1025851" y="4950628"/>
                </a:lnTo>
                <a:lnTo>
                  <a:pt x="1026345" y="4950134"/>
                </a:lnTo>
                <a:lnTo>
                  <a:pt x="1027794" y="4950134"/>
                </a:lnTo>
                <a:cubicBezTo>
                  <a:pt x="1031306" y="4950134"/>
                  <a:pt x="1033639" y="4947819"/>
                  <a:pt x="1033639" y="4944348"/>
                </a:cubicBezTo>
                <a:lnTo>
                  <a:pt x="1033639" y="4837419"/>
                </a:lnTo>
                <a:lnTo>
                  <a:pt x="1070780" y="4837419"/>
                </a:lnTo>
                <a:cubicBezTo>
                  <a:pt x="1074584" y="4837419"/>
                  <a:pt x="1076625" y="4835105"/>
                  <a:pt x="1076625" y="4831634"/>
                </a:cubicBezTo>
                <a:lnTo>
                  <a:pt x="1076625" y="4811692"/>
                </a:lnTo>
                <a:cubicBezTo>
                  <a:pt x="1076625" y="4807934"/>
                  <a:pt x="1074584" y="4805627"/>
                  <a:pt x="1070780" y="4805627"/>
                </a:cubicBezTo>
                <a:lnTo>
                  <a:pt x="1068815" y="4805627"/>
                </a:lnTo>
                <a:lnTo>
                  <a:pt x="1068559" y="4805359"/>
                </a:lnTo>
                <a:lnTo>
                  <a:pt x="1033639" y="4805359"/>
                </a:lnTo>
                <a:lnTo>
                  <a:pt x="1033639" y="4802443"/>
                </a:lnTo>
                <a:cubicBezTo>
                  <a:pt x="1033639" y="4786548"/>
                  <a:pt x="1040663" y="4778457"/>
                  <a:pt x="1056748" y="4778457"/>
                </a:cubicBezTo>
                <a:cubicBezTo>
                  <a:pt x="1062593" y="4778457"/>
                  <a:pt x="1068892" y="4779901"/>
                  <a:pt x="1071071" y="4779901"/>
                </a:cubicBezTo>
                <a:cubicBezTo>
                  <a:pt x="1074584" y="4779901"/>
                  <a:pt x="1076045" y="4777882"/>
                  <a:pt x="1076625" y="4774411"/>
                </a:cubicBezTo>
                <a:lnTo>
                  <a:pt x="1079556" y="4759385"/>
                </a:lnTo>
                <a:cubicBezTo>
                  <a:pt x="1079813" y="4758050"/>
                  <a:pt x="1080138" y="4756876"/>
                  <a:pt x="1080138" y="4755627"/>
                </a:cubicBezTo>
                <a:cubicBezTo>
                  <a:pt x="1080138" y="4752417"/>
                  <a:pt x="1078386" y="4750711"/>
                  <a:pt x="1074293" y="4749848"/>
                </a:cubicBezTo>
                <a:lnTo>
                  <a:pt x="1072404" y="4749641"/>
                </a:lnTo>
                <a:lnTo>
                  <a:pt x="1072049" y="4749285"/>
                </a:lnTo>
                <a:cubicBezTo>
                  <a:pt x="1066232" y="4747834"/>
                  <a:pt x="1059941" y="4747249"/>
                  <a:pt x="1053743" y="4747249"/>
                </a:cubicBezTo>
                <a:close/>
                <a:moveTo>
                  <a:pt x="1115151" y="4747131"/>
                </a:moveTo>
                <a:cubicBezTo>
                  <a:pt x="1102947" y="4747139"/>
                  <a:pt x="1095102" y="4754688"/>
                  <a:pt x="1095104" y="4767478"/>
                </a:cubicBezTo>
                <a:cubicBezTo>
                  <a:pt x="1095101" y="4779971"/>
                  <a:pt x="1102947" y="4787811"/>
                  <a:pt x="1116017" y="4787818"/>
                </a:cubicBezTo>
                <a:cubicBezTo>
                  <a:pt x="1127933" y="4787817"/>
                  <a:pt x="1136070" y="4779974"/>
                  <a:pt x="1136065" y="4767481"/>
                </a:cubicBezTo>
                <a:cubicBezTo>
                  <a:pt x="1136070" y="4754690"/>
                  <a:pt x="1127933" y="4747137"/>
                  <a:pt x="1115151" y="4747131"/>
                </a:cubicBezTo>
                <a:close/>
                <a:moveTo>
                  <a:pt x="0" y="0"/>
                </a:moveTo>
                <a:lnTo>
                  <a:pt x="9143999" y="0"/>
                </a:lnTo>
                <a:lnTo>
                  <a:pt x="9143999" y="5143500"/>
                </a:lnTo>
                <a:lnTo>
                  <a:pt x="0" y="5143500"/>
                </a:lnTo>
                <a:close/>
              </a:path>
            </a:pathLst>
          </a:custGeom>
          <a:noFill/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C2450B2-84CC-413F-B4B2-0D512E45CDD7}"/>
              </a:ext>
            </a:extLst>
          </p:cNvPr>
          <p:cNvSpPr txBox="1">
            <a:spLocks/>
          </p:cNvSpPr>
          <p:nvPr/>
        </p:nvSpPr>
        <p:spPr>
          <a:xfrm>
            <a:off x="6778557" y="2979990"/>
            <a:ext cx="4949741" cy="139925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377" rtl="0" eaLnBrk="1" latinLnBrk="0" hangingPunct="1">
              <a:lnSpc>
                <a:spcPct val="96000"/>
              </a:lnSpc>
              <a:spcBef>
                <a:spcPts val="0"/>
              </a:spcBef>
              <a:spcAft>
                <a:spcPts val="1333"/>
              </a:spcAft>
              <a:buFont typeface="Arial" panose="020B0604020202020204" pitchFamily="34" charset="0"/>
              <a:buNone/>
              <a:defRPr lang="fr-FR" sz="4800" b="0" i="1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lang="en-US" sz="4800" b="0" i="1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00000"/>
              </a:lnSpc>
              <a:spcBef>
                <a:spcPts val="1333"/>
              </a:spcBef>
              <a:buFontTx/>
              <a:buBlip>
                <a:blip r:embed="rId3"/>
              </a:buBlip>
              <a:defRPr sz="1867" b="0" i="0" kern="12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3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arket Updat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803B07E-A7DD-4E5D-A731-BA064B1F4F5D}"/>
              </a:ext>
            </a:extLst>
          </p:cNvPr>
          <p:cNvSpPr txBox="1">
            <a:spLocks/>
          </p:cNvSpPr>
          <p:nvPr/>
        </p:nvSpPr>
        <p:spPr>
          <a:xfrm>
            <a:off x="6778557" y="1792929"/>
            <a:ext cx="4949741" cy="93994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0" indent="0" algn="l" defTabSz="914377" rtl="0" eaLnBrk="1" latinLnBrk="0" hangingPunct="1">
              <a:lnSpc>
                <a:spcPct val="96000"/>
              </a:lnSpc>
              <a:spcBef>
                <a:spcPts val="0"/>
              </a:spcBef>
              <a:spcAft>
                <a:spcPts val="1333"/>
              </a:spcAft>
              <a:buFont typeface="Arial" panose="020B0604020202020204" pitchFamily="34" charset="0"/>
              <a:buNone/>
              <a:defRPr lang="fr-FR" sz="2933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3"/>
              </a:buBlip>
              <a:defRPr sz="4800" b="0" i="1" kern="12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00000"/>
              </a:lnSpc>
              <a:spcBef>
                <a:spcPts val="1333"/>
              </a:spcBef>
              <a:buFontTx/>
              <a:buBlip>
                <a:blip r:embed="rId3"/>
              </a:buBlip>
              <a:defRPr sz="1867" b="0" i="0" kern="12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3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fluenza (flu)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85E0382-F80E-4FE5-8199-C480008A5DFC}"/>
              </a:ext>
            </a:extLst>
          </p:cNvPr>
          <p:cNvSpPr txBox="1">
            <a:spLocks/>
          </p:cNvSpPr>
          <p:nvPr/>
        </p:nvSpPr>
        <p:spPr>
          <a:xfrm>
            <a:off x="6778557" y="3834801"/>
            <a:ext cx="4949741" cy="40006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marL="0" indent="0" algn="l" defTabSz="914377" rtl="0" eaLnBrk="1" latinLnBrk="0" hangingPunct="1">
              <a:lnSpc>
                <a:spcPct val="96000"/>
              </a:lnSpc>
              <a:spcBef>
                <a:spcPts val="0"/>
              </a:spcBef>
              <a:spcAft>
                <a:spcPts val="1333"/>
              </a:spcAft>
              <a:buFont typeface="Arial" panose="020B0604020202020204" pitchFamily="34" charset="0"/>
              <a:buNone/>
              <a:defRPr lang="fr-FR" sz="2933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3"/>
              </a:buBlip>
              <a:defRPr sz="4800" b="0" i="1" kern="12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00000"/>
              </a:lnSpc>
              <a:spcBef>
                <a:spcPts val="1333"/>
              </a:spcBef>
              <a:buFontTx/>
              <a:buBlip>
                <a:blip r:embed="rId3"/>
              </a:buBlip>
              <a:defRPr sz="1867" b="0" i="0" kern="12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3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/>
              <a:t>Preparing for 2022-2023 Season</a:t>
            </a:r>
          </a:p>
        </p:txBody>
      </p:sp>
    </p:spTree>
    <p:extLst>
      <p:ext uri="{BB962C8B-B14F-4D97-AF65-F5344CB8AC3E}">
        <p14:creationId xmlns:p14="http://schemas.microsoft.com/office/powerpoint/2010/main" val="986195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martArt Placeholder 2">
            <a:extLst>
              <a:ext uri="{FF2B5EF4-FFF2-40B4-BE49-F238E27FC236}">
                <a16:creationId xmlns:a16="http://schemas.microsoft.com/office/drawing/2014/main" id="{A764F002-135C-4FAB-8D25-B2250B04C003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3180965" y="1652485"/>
            <a:ext cx="83607" cy="96000"/>
          </a:xfrm>
        </p:spPr>
      </p:sp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A5F5215C-BF2A-4C1D-B747-41AA06A5DC1C}"/>
              </a:ext>
            </a:extLst>
          </p:cNvPr>
          <p:cNvSpPr>
            <a:spLocks noGrp="1"/>
          </p:cNvSpPr>
          <p:nvPr>
            <p:ph type="dgm" sz="quarter" idx="19"/>
          </p:nvPr>
        </p:nvSpPr>
        <p:spPr>
          <a:xfrm>
            <a:off x="3180966" y="5046185"/>
            <a:ext cx="83607" cy="96000"/>
          </a:xfrm>
        </p:spPr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E01D71-4B54-4BDE-9315-43BD4BEFE4C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9C81796-677F-441F-A41D-A44F9494654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0" y="2796356"/>
            <a:ext cx="6361929" cy="537959"/>
          </a:xfrm>
        </p:spPr>
        <p:txBody>
          <a:bodyPr/>
          <a:lstStyle/>
          <a:p>
            <a:r>
              <a:rPr lang="en-US" sz="3600"/>
              <a:t>Call to Action</a:t>
            </a:r>
          </a:p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90AED1-3B33-4718-B40D-6A47025BC05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298196" y="3653694"/>
            <a:ext cx="3765535" cy="536555"/>
          </a:xfrm>
        </p:spPr>
        <p:txBody>
          <a:bodyPr/>
          <a:lstStyle/>
          <a:p>
            <a:r>
              <a:rPr lang="en-US" sz="2000">
                <a:solidFill>
                  <a:schemeClr val="accent1"/>
                </a:solidFill>
                <a:latin typeface="Franklin Gothic Book" panose="020B0503020102020204" pitchFamily="34" charset="0"/>
                <a:cs typeface="Calibri" panose="020F0502020204030204" pitchFamily="34" charset="0"/>
              </a:rPr>
              <a:t>Time is Now to Plan and Execute Flu Immunization Campaigns</a:t>
            </a:r>
            <a:endParaRPr lang="en-US" sz="1800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11" name="Picture Placeholder 9">
            <a:extLst>
              <a:ext uri="{FF2B5EF4-FFF2-40B4-BE49-F238E27FC236}">
                <a16:creationId xmlns:a16="http://schemas.microsoft.com/office/drawing/2014/main" id="{072504F5-9787-4D19-AEEB-11CAFECDDD8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80" r="56702"/>
          <a:stretch/>
        </p:blipFill>
        <p:spPr>
          <a:xfrm>
            <a:off x="6475940" y="90539"/>
            <a:ext cx="5716060" cy="6858000"/>
          </a:xfrm>
          <a:prstGeom prst="rect">
            <a:avLst/>
          </a:prstGeom>
          <a:noFill/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9484731-26F2-4938-95CD-86E83686A9E1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20E5ED-C27C-473A-BD1D-A31D3998B24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-48596" y="6687667"/>
            <a:ext cx="6459117" cy="170333"/>
          </a:xfrm>
        </p:spPr>
        <p:txBody>
          <a:bodyPr/>
          <a:lstStyle/>
          <a:p>
            <a:r>
              <a:rPr lang="fr-FR"/>
              <a:t>MAT-US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2659881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0306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: Single Corner Rounded 39">
            <a:extLst>
              <a:ext uri="{FF2B5EF4-FFF2-40B4-BE49-F238E27FC236}">
                <a16:creationId xmlns:a16="http://schemas.microsoft.com/office/drawing/2014/main" id="{7250FB89-820A-4C7F-95CF-8F471784A660}"/>
              </a:ext>
            </a:extLst>
          </p:cNvPr>
          <p:cNvSpPr/>
          <p:nvPr/>
        </p:nvSpPr>
        <p:spPr>
          <a:xfrm>
            <a:off x="2935030" y="1455801"/>
            <a:ext cx="8201595" cy="731520"/>
          </a:xfrm>
          <a:prstGeom prst="round1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lvl="1"/>
            <a:r>
              <a:rPr lang="en-US">
                <a:solidFill>
                  <a:schemeClr val="accent1"/>
                </a:solidFill>
                <a:latin typeface="Franklin Gothic Book" panose="020B0503020102020204" pitchFamily="34" charset="0"/>
              </a:rPr>
              <a:t>Advertise flu shot availability well in advance of the season. Make sure patients know your vaccine plan by July or August at the latest </a:t>
            </a:r>
          </a:p>
        </p:txBody>
      </p:sp>
      <p:sp>
        <p:nvSpPr>
          <p:cNvPr id="41" name="Rectangle: Single Corner Rounded 40">
            <a:extLst>
              <a:ext uri="{FF2B5EF4-FFF2-40B4-BE49-F238E27FC236}">
                <a16:creationId xmlns:a16="http://schemas.microsoft.com/office/drawing/2014/main" id="{C72AE014-ED3B-4A3C-850E-32067C4B15F3}"/>
              </a:ext>
            </a:extLst>
          </p:cNvPr>
          <p:cNvSpPr/>
          <p:nvPr/>
        </p:nvSpPr>
        <p:spPr>
          <a:xfrm>
            <a:off x="2950893" y="2262907"/>
            <a:ext cx="8201595" cy="731520"/>
          </a:xfrm>
          <a:prstGeom prst="round1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lvl="1"/>
            <a:r>
              <a:rPr lang="en-US">
                <a:solidFill>
                  <a:schemeClr val="accent1"/>
                </a:solidFill>
                <a:latin typeface="Franklin Gothic Book" panose="020B0503020102020204" pitchFamily="34" charset="0"/>
              </a:rPr>
              <a:t>Choose a specific day of the week for your practice to administer flu shots to help manage interruptions and streamline the flow of vaccine appointments</a:t>
            </a:r>
          </a:p>
        </p:txBody>
      </p:sp>
      <p:sp>
        <p:nvSpPr>
          <p:cNvPr id="42" name="Rectangle: Single Corner Rounded 41">
            <a:extLst>
              <a:ext uri="{FF2B5EF4-FFF2-40B4-BE49-F238E27FC236}">
                <a16:creationId xmlns:a16="http://schemas.microsoft.com/office/drawing/2014/main" id="{3AA0613F-164D-44DB-9F27-66BC55D1B4DF}"/>
              </a:ext>
            </a:extLst>
          </p:cNvPr>
          <p:cNvSpPr/>
          <p:nvPr/>
        </p:nvSpPr>
        <p:spPr>
          <a:xfrm>
            <a:off x="2950892" y="3070013"/>
            <a:ext cx="8201595" cy="731520"/>
          </a:xfrm>
          <a:prstGeom prst="round1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lvl="1"/>
            <a:r>
              <a:rPr lang="en-US">
                <a:solidFill>
                  <a:schemeClr val="accent1"/>
                </a:solidFill>
                <a:latin typeface="Franklin Gothic Book" panose="020B0503020102020204" pitchFamily="34" charset="0"/>
              </a:rPr>
              <a:t>Ensure you have all the items needed to run the clinic, including action plans, communication tools, logistical signs, and patient materials. *</a:t>
            </a:r>
          </a:p>
        </p:txBody>
      </p:sp>
      <p:sp>
        <p:nvSpPr>
          <p:cNvPr id="43" name="Rectangle: Single Corner Rounded 42">
            <a:extLst>
              <a:ext uri="{FF2B5EF4-FFF2-40B4-BE49-F238E27FC236}">
                <a16:creationId xmlns:a16="http://schemas.microsoft.com/office/drawing/2014/main" id="{2E78741A-20C9-4840-825C-C59C9C13CF83}"/>
              </a:ext>
            </a:extLst>
          </p:cNvPr>
          <p:cNvSpPr/>
          <p:nvPr/>
        </p:nvSpPr>
        <p:spPr>
          <a:xfrm>
            <a:off x="2950893" y="3877119"/>
            <a:ext cx="8201595" cy="731520"/>
          </a:xfrm>
          <a:prstGeom prst="round1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lvl="1"/>
            <a:r>
              <a:rPr lang="en-US">
                <a:solidFill>
                  <a:schemeClr val="accent1"/>
                </a:solidFill>
                <a:latin typeface="Franklin Gothic Book" panose="020B0503020102020204" pitchFamily="34" charset="0"/>
              </a:rPr>
              <a:t>Provide documentation of vaccine administration to all recipients at time of vaccination </a:t>
            </a:r>
          </a:p>
        </p:txBody>
      </p:sp>
      <p:sp>
        <p:nvSpPr>
          <p:cNvPr id="44" name="Rectangle: Single Corner Rounded 43">
            <a:extLst>
              <a:ext uri="{FF2B5EF4-FFF2-40B4-BE49-F238E27FC236}">
                <a16:creationId xmlns:a16="http://schemas.microsoft.com/office/drawing/2014/main" id="{5BDBE01C-80B8-4011-8FD7-D976BA253EE6}"/>
              </a:ext>
            </a:extLst>
          </p:cNvPr>
          <p:cNvSpPr/>
          <p:nvPr/>
        </p:nvSpPr>
        <p:spPr>
          <a:xfrm>
            <a:off x="2933625" y="4684225"/>
            <a:ext cx="8201595" cy="731520"/>
          </a:xfrm>
          <a:prstGeom prst="round1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lvl="1"/>
            <a:r>
              <a:rPr lang="en-US">
                <a:solidFill>
                  <a:schemeClr val="accent1"/>
                </a:solidFill>
                <a:latin typeface="Franklin Gothic Book" panose="020B0503020102020204" pitchFamily="34" charset="0"/>
              </a:rPr>
              <a:t>Ensure backup plans are in place in case of late arrivals or delays </a:t>
            </a:r>
          </a:p>
        </p:txBody>
      </p:sp>
      <p:sp>
        <p:nvSpPr>
          <p:cNvPr id="46" name="Rectangle: Single Corner Rounded 45">
            <a:extLst>
              <a:ext uri="{FF2B5EF4-FFF2-40B4-BE49-F238E27FC236}">
                <a16:creationId xmlns:a16="http://schemas.microsoft.com/office/drawing/2014/main" id="{2E3E7307-BB72-434C-A5A9-FB46CB5FFD91}"/>
              </a:ext>
            </a:extLst>
          </p:cNvPr>
          <p:cNvSpPr/>
          <p:nvPr/>
        </p:nvSpPr>
        <p:spPr>
          <a:xfrm>
            <a:off x="2965952" y="5491333"/>
            <a:ext cx="8201595" cy="731520"/>
          </a:xfrm>
          <a:prstGeom prst="round1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lvl="1"/>
            <a:r>
              <a:rPr lang="en-US">
                <a:solidFill>
                  <a:schemeClr val="accent1"/>
                </a:solidFill>
                <a:latin typeface="Franklin Gothic Book" panose="020B0503020102020204" pitchFamily="34" charset="0"/>
              </a:rPr>
              <a:t>Ensure eligible patients receive the right vaccine for the right age grou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5" y="594287"/>
            <a:ext cx="10271390" cy="654470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The Best Way to Help Protect As Many Patients as Possible Against Flu is to Plan Your Immunization Campaigns Now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D5435FFD-9996-474B-BF53-ED19A78A8B5F}"/>
              </a:ext>
            </a:extLst>
          </p:cNvPr>
          <p:cNvSpPr txBox="1">
            <a:spLocks/>
          </p:cNvSpPr>
          <p:nvPr/>
        </p:nvSpPr>
        <p:spPr>
          <a:xfrm>
            <a:off x="635262" y="1253072"/>
            <a:ext cx="10843038" cy="4771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66688" indent="-166688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charset="0"/>
              <a:buChar char="•"/>
              <a:tabLst>
                <a:tab pos="8459788" algn="r"/>
              </a:tabLst>
              <a:defRPr sz="1800" b="0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0038" indent="-13335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Font typeface="Arial" charset="0"/>
              <a:buChar char="•"/>
              <a:tabLst>
                <a:tab pos="8460000" algn="r"/>
              </a:tabLst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1462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None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b="1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9" name="Rectangle: Diagonal Corners Rounded 28">
            <a:extLst>
              <a:ext uri="{FF2B5EF4-FFF2-40B4-BE49-F238E27FC236}">
                <a16:creationId xmlns:a16="http://schemas.microsoft.com/office/drawing/2014/main" id="{A1E7BA78-2A43-4EC0-A2EC-8937D4C9EB42}"/>
              </a:ext>
            </a:extLst>
          </p:cNvPr>
          <p:cNvSpPr/>
          <p:nvPr/>
        </p:nvSpPr>
        <p:spPr>
          <a:xfrm>
            <a:off x="780038" y="1438986"/>
            <a:ext cx="2377440" cy="731520"/>
          </a:xfrm>
          <a:prstGeom prst="round2DiagRect">
            <a:avLst/>
          </a:prstGeom>
          <a:solidFill>
            <a:srgbClr val="963FFF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>
                <a:latin typeface="Franklin Gothic Book" panose="020B0503020102020204" pitchFamily="34" charset="0"/>
              </a:rPr>
              <a:t>Get the </a:t>
            </a:r>
          </a:p>
          <a:p>
            <a:pPr algn="r"/>
            <a:r>
              <a:rPr lang="en-US" sz="2000">
                <a:latin typeface="Franklin Gothic Book" panose="020B0503020102020204" pitchFamily="34" charset="0"/>
              </a:rPr>
              <a:t>Word Out</a:t>
            </a:r>
          </a:p>
        </p:txBody>
      </p:sp>
      <p:pic>
        <p:nvPicPr>
          <p:cNvPr id="30" name="Graphic 29" descr="Speaker Phone">
            <a:extLst>
              <a:ext uri="{FF2B5EF4-FFF2-40B4-BE49-F238E27FC236}">
                <a16:creationId xmlns:a16="http://schemas.microsoft.com/office/drawing/2014/main" id="{D9079198-F76C-4291-B0E3-7B45599251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2244" y="1503241"/>
            <a:ext cx="635167" cy="681105"/>
          </a:xfrm>
          <a:prstGeom prst="rect">
            <a:avLst/>
          </a:prstGeom>
        </p:spPr>
      </p:pic>
      <p:sp>
        <p:nvSpPr>
          <p:cNvPr id="31" name="Rectangle: Diagonal Corners Rounded 30">
            <a:extLst>
              <a:ext uri="{FF2B5EF4-FFF2-40B4-BE49-F238E27FC236}">
                <a16:creationId xmlns:a16="http://schemas.microsoft.com/office/drawing/2014/main" id="{15B448D0-5185-4D93-B880-60CE8DDE6F76}"/>
              </a:ext>
            </a:extLst>
          </p:cNvPr>
          <p:cNvSpPr/>
          <p:nvPr/>
        </p:nvSpPr>
        <p:spPr>
          <a:xfrm>
            <a:off x="789275" y="2248639"/>
            <a:ext cx="2377440" cy="731520"/>
          </a:xfrm>
          <a:prstGeom prst="round2Diag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>
                <a:latin typeface="Franklin Gothic Book" panose="020B0503020102020204" pitchFamily="34" charset="0"/>
              </a:rPr>
              <a:t> Pick a Day </a:t>
            </a:r>
          </a:p>
          <a:p>
            <a:pPr algn="r"/>
            <a:r>
              <a:rPr lang="en-US" sz="2000">
                <a:latin typeface="Franklin Gothic Book" panose="020B0503020102020204" pitchFamily="34" charset="0"/>
              </a:rPr>
              <a:t>of the Week</a:t>
            </a:r>
          </a:p>
        </p:txBody>
      </p:sp>
      <p:pic>
        <p:nvPicPr>
          <p:cNvPr id="32" name="Graphic 31" descr="Daily calendar">
            <a:extLst>
              <a:ext uri="{FF2B5EF4-FFF2-40B4-BE49-F238E27FC236}">
                <a16:creationId xmlns:a16="http://schemas.microsoft.com/office/drawing/2014/main" id="{34887665-03E7-409B-A516-83146D6F72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87865" y="2284623"/>
            <a:ext cx="724732" cy="628260"/>
          </a:xfrm>
          <a:prstGeom prst="rect">
            <a:avLst/>
          </a:prstGeom>
        </p:spPr>
      </p:pic>
      <p:sp>
        <p:nvSpPr>
          <p:cNvPr id="33" name="Rectangle: Diagonal Corners Rounded 32">
            <a:extLst>
              <a:ext uri="{FF2B5EF4-FFF2-40B4-BE49-F238E27FC236}">
                <a16:creationId xmlns:a16="http://schemas.microsoft.com/office/drawing/2014/main" id="{A9010B1B-47F7-447A-8144-19E92AF54603}"/>
              </a:ext>
            </a:extLst>
          </p:cNvPr>
          <p:cNvSpPr/>
          <p:nvPr/>
        </p:nvSpPr>
        <p:spPr>
          <a:xfrm>
            <a:off x="789274" y="3058292"/>
            <a:ext cx="2377440" cy="731520"/>
          </a:xfrm>
          <a:prstGeom prst="round2DiagRect">
            <a:avLst/>
          </a:prstGeom>
          <a:solidFill>
            <a:srgbClr val="7000D6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>
                <a:latin typeface="Franklin Gothic Book" panose="020B0503020102020204" pitchFamily="34" charset="0"/>
              </a:rPr>
              <a:t> Have the </a:t>
            </a:r>
          </a:p>
          <a:p>
            <a:pPr algn="r"/>
            <a:r>
              <a:rPr lang="en-US" sz="2000">
                <a:latin typeface="Franklin Gothic Book" panose="020B0503020102020204" pitchFamily="34" charset="0"/>
              </a:rPr>
              <a:t>Right Tools</a:t>
            </a:r>
          </a:p>
        </p:txBody>
      </p:sp>
      <p:pic>
        <p:nvPicPr>
          <p:cNvPr id="35" name="Graphic 34" descr="Gears">
            <a:extLst>
              <a:ext uri="{FF2B5EF4-FFF2-40B4-BE49-F238E27FC236}">
                <a16:creationId xmlns:a16="http://schemas.microsoft.com/office/drawing/2014/main" id="{68647903-B000-4135-A13E-7AF91B16E81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15658" y="3103123"/>
            <a:ext cx="651753" cy="651753"/>
          </a:xfrm>
          <a:prstGeom prst="rect">
            <a:avLst/>
          </a:prstGeom>
        </p:spPr>
      </p:pic>
      <p:sp>
        <p:nvSpPr>
          <p:cNvPr id="36" name="Rectangle: Diagonal Corners Rounded 35">
            <a:extLst>
              <a:ext uri="{FF2B5EF4-FFF2-40B4-BE49-F238E27FC236}">
                <a16:creationId xmlns:a16="http://schemas.microsoft.com/office/drawing/2014/main" id="{027FA8C2-32C1-44D9-A21A-9812AEC821FE}"/>
              </a:ext>
            </a:extLst>
          </p:cNvPr>
          <p:cNvSpPr/>
          <p:nvPr/>
        </p:nvSpPr>
        <p:spPr>
          <a:xfrm>
            <a:off x="789275" y="3867945"/>
            <a:ext cx="2377440" cy="731520"/>
          </a:xfrm>
          <a:prstGeom prst="round2Diag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>
                <a:latin typeface="Franklin Gothic Book" panose="020B0503020102020204" pitchFamily="34" charset="0"/>
              </a:rPr>
              <a:t> Patient Proof</a:t>
            </a:r>
          </a:p>
        </p:txBody>
      </p:sp>
      <p:pic>
        <p:nvPicPr>
          <p:cNvPr id="37" name="Graphic 36" descr="Checklist RTL">
            <a:extLst>
              <a:ext uri="{FF2B5EF4-FFF2-40B4-BE49-F238E27FC236}">
                <a16:creationId xmlns:a16="http://schemas.microsoft.com/office/drawing/2014/main" id="{FB9CAD44-FA7D-42D9-B923-28EB4D51378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87865" y="3978475"/>
            <a:ext cx="616051" cy="528808"/>
          </a:xfrm>
          <a:prstGeom prst="rect">
            <a:avLst/>
          </a:prstGeom>
        </p:spPr>
      </p:pic>
      <p:sp>
        <p:nvSpPr>
          <p:cNvPr id="38" name="Rectangle: Diagonal Corners Rounded 37">
            <a:extLst>
              <a:ext uri="{FF2B5EF4-FFF2-40B4-BE49-F238E27FC236}">
                <a16:creationId xmlns:a16="http://schemas.microsoft.com/office/drawing/2014/main" id="{855233C3-FE65-44DF-8B9D-10DD45192656}"/>
              </a:ext>
            </a:extLst>
          </p:cNvPr>
          <p:cNvSpPr/>
          <p:nvPr/>
        </p:nvSpPr>
        <p:spPr>
          <a:xfrm>
            <a:off x="798510" y="4677598"/>
            <a:ext cx="2377440" cy="731520"/>
          </a:xfrm>
          <a:prstGeom prst="round2Diag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>
                <a:latin typeface="Franklin Gothic Book" panose="020B0503020102020204" pitchFamily="34" charset="0"/>
              </a:rPr>
              <a:t>Have a </a:t>
            </a:r>
          </a:p>
          <a:p>
            <a:pPr algn="r"/>
            <a:r>
              <a:rPr lang="en-US" sz="2000">
                <a:latin typeface="Franklin Gothic Book" panose="020B0503020102020204" pitchFamily="34" charset="0"/>
              </a:rPr>
              <a:t>Backup Plan</a:t>
            </a:r>
          </a:p>
        </p:txBody>
      </p:sp>
      <p:pic>
        <p:nvPicPr>
          <p:cNvPr id="39" name="Graphic 38" descr="Thumbs up sign">
            <a:extLst>
              <a:ext uri="{FF2B5EF4-FFF2-40B4-BE49-F238E27FC236}">
                <a16:creationId xmlns:a16="http://schemas.microsoft.com/office/drawing/2014/main" id="{BAFC30B9-7673-478C-80B6-4D6E22F8706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32244" y="4797942"/>
            <a:ext cx="488936" cy="488936"/>
          </a:xfrm>
          <a:prstGeom prst="rect">
            <a:avLst/>
          </a:prstGeom>
        </p:spPr>
      </p:pic>
      <p:sp>
        <p:nvSpPr>
          <p:cNvPr id="45" name="Rectangle: Diagonal Corners Rounded 44">
            <a:extLst>
              <a:ext uri="{FF2B5EF4-FFF2-40B4-BE49-F238E27FC236}">
                <a16:creationId xmlns:a16="http://schemas.microsoft.com/office/drawing/2014/main" id="{12BCCFDC-D63F-4C8C-B4D4-9BE6DEB95EF4}"/>
              </a:ext>
            </a:extLst>
          </p:cNvPr>
          <p:cNvSpPr/>
          <p:nvPr/>
        </p:nvSpPr>
        <p:spPr>
          <a:xfrm>
            <a:off x="821601" y="5487250"/>
            <a:ext cx="2377440" cy="731520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>
                <a:latin typeface="Franklin Gothic Book" panose="020B0503020102020204" pitchFamily="34" charset="0"/>
              </a:rPr>
              <a:t>Protect with the Right Vaccine</a:t>
            </a:r>
          </a:p>
        </p:txBody>
      </p:sp>
      <p:pic>
        <p:nvPicPr>
          <p:cNvPr id="47" name="Graphic 46" descr="Immunity with solid fill">
            <a:extLst>
              <a:ext uri="{FF2B5EF4-FFF2-40B4-BE49-F238E27FC236}">
                <a16:creationId xmlns:a16="http://schemas.microsoft.com/office/drawing/2014/main" id="{B27DD846-AF2D-4CAD-B2DC-B45A0CD58CB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885598" y="5622222"/>
            <a:ext cx="488936" cy="488936"/>
          </a:xfrm>
          <a:prstGeom prst="rect">
            <a:avLst/>
          </a:prstGeom>
        </p:spPr>
      </p:pic>
      <p:sp>
        <p:nvSpPr>
          <p:cNvPr id="27" name="Rectangle: Single Corner Rounded 26">
            <a:extLst>
              <a:ext uri="{FF2B5EF4-FFF2-40B4-BE49-F238E27FC236}">
                <a16:creationId xmlns:a16="http://schemas.microsoft.com/office/drawing/2014/main" id="{4BA89D7C-963C-4CF3-90AE-C61103493E06}"/>
              </a:ext>
            </a:extLst>
          </p:cNvPr>
          <p:cNvSpPr/>
          <p:nvPr/>
        </p:nvSpPr>
        <p:spPr>
          <a:xfrm>
            <a:off x="3063815" y="6294358"/>
            <a:ext cx="3970607" cy="274325"/>
          </a:xfrm>
          <a:prstGeom prst="round1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lvl="1"/>
            <a:r>
              <a:rPr lang="en-US">
                <a:solidFill>
                  <a:schemeClr val="accent1"/>
                </a:solidFill>
                <a:latin typeface="Franklin Gothic Book" panose="020B0503020102020204" pitchFamily="34" charset="0"/>
              </a:rPr>
              <a:t>* </a:t>
            </a:r>
            <a:r>
              <a:rPr lang="en-US" sz="1400">
                <a:solidFill>
                  <a:schemeClr val="accent1"/>
                </a:solidFill>
                <a:latin typeface="Franklin Gothic Book" panose="020B0503020102020204" pitchFamily="34" charset="0"/>
              </a:rPr>
              <a:t>See helpful tools later in presentation</a:t>
            </a:r>
            <a:endParaRPr lang="en-US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8" name="Footer Placeholder 1">
            <a:extLst>
              <a:ext uri="{FF2B5EF4-FFF2-40B4-BE49-F238E27FC236}">
                <a16:creationId xmlns:a16="http://schemas.microsoft.com/office/drawing/2014/main" id="{35BE69A3-67EB-4327-9FA0-6FC7F6FB4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2839847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09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4" y="594287"/>
            <a:ext cx="10843037" cy="654470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Foster a Proactive, Pro-Immunization Culture Among All Staff to Increase Vaccine Confidence and Improve Vaccination Rat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D5435FFD-9996-474B-BF53-ED19A78A8B5F}"/>
              </a:ext>
            </a:extLst>
          </p:cNvPr>
          <p:cNvSpPr txBox="1">
            <a:spLocks/>
          </p:cNvSpPr>
          <p:nvPr/>
        </p:nvSpPr>
        <p:spPr>
          <a:xfrm>
            <a:off x="452859" y="1313058"/>
            <a:ext cx="10843038" cy="4771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66688" indent="-166688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charset="0"/>
              <a:buChar char="•"/>
              <a:tabLst>
                <a:tab pos="8459788" algn="r"/>
              </a:tabLst>
              <a:defRPr sz="1800" b="0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0038" indent="-13335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Font typeface="Arial" charset="0"/>
              <a:buChar char="•"/>
              <a:tabLst>
                <a:tab pos="8460000" algn="r"/>
              </a:tabLst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1462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None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b="1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3A8BC0B-BADF-473E-AED0-1B50044F13E1}"/>
              </a:ext>
            </a:extLst>
          </p:cNvPr>
          <p:cNvSpPr/>
          <p:nvPr/>
        </p:nvSpPr>
        <p:spPr>
          <a:xfrm>
            <a:off x="546987" y="4395575"/>
            <a:ext cx="1756394" cy="1569660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  <a:t>Examine patient workflow to ensure that immunizations are reviewed at every visit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C4A871E7-093A-414B-925F-15A2FB3E3290}"/>
              </a:ext>
            </a:extLst>
          </p:cNvPr>
          <p:cNvSpPr/>
          <p:nvPr/>
        </p:nvSpPr>
        <p:spPr>
          <a:xfrm>
            <a:off x="655556" y="1997653"/>
            <a:ext cx="1575038" cy="1575038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07456C2B-B733-4DD5-BE5A-FA85DEDBD885}"/>
              </a:ext>
            </a:extLst>
          </p:cNvPr>
          <p:cNvCxnSpPr>
            <a:cxnSpLocks/>
            <a:stCxn id="74" idx="4"/>
          </p:cNvCxnSpPr>
          <p:nvPr/>
        </p:nvCxnSpPr>
        <p:spPr>
          <a:xfrm>
            <a:off x="1443075" y="3572691"/>
            <a:ext cx="0" cy="667076"/>
          </a:xfrm>
          <a:prstGeom prst="line">
            <a:avLst/>
          </a:prstGeom>
          <a:ln w="8255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Picture 75">
            <a:extLst>
              <a:ext uri="{FF2B5EF4-FFF2-40B4-BE49-F238E27FC236}">
                <a16:creationId xmlns:a16="http://schemas.microsoft.com/office/drawing/2014/main" id="{B4710620-448D-4478-AD92-9D0D9BFF0F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9906" y="2322311"/>
            <a:ext cx="827543" cy="827543"/>
          </a:xfrm>
          <a:prstGeom prst="rect">
            <a:avLst/>
          </a:prstGeom>
        </p:spPr>
      </p:pic>
      <p:sp>
        <p:nvSpPr>
          <p:cNvPr id="77" name="Oval 76">
            <a:extLst>
              <a:ext uri="{FF2B5EF4-FFF2-40B4-BE49-F238E27FC236}">
                <a16:creationId xmlns:a16="http://schemas.microsoft.com/office/drawing/2014/main" id="{0623945A-54ED-48C7-B3C9-688D4A9B551C}"/>
              </a:ext>
            </a:extLst>
          </p:cNvPr>
          <p:cNvSpPr/>
          <p:nvPr/>
        </p:nvSpPr>
        <p:spPr>
          <a:xfrm>
            <a:off x="2884891" y="1997653"/>
            <a:ext cx="1575038" cy="1575038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FB5170E-59D4-4BDD-9481-619649F6DECE}"/>
              </a:ext>
            </a:extLst>
          </p:cNvPr>
          <p:cNvCxnSpPr>
            <a:cxnSpLocks/>
            <a:stCxn id="77" idx="4"/>
          </p:cNvCxnSpPr>
          <p:nvPr/>
        </p:nvCxnSpPr>
        <p:spPr>
          <a:xfrm>
            <a:off x="3672410" y="3572691"/>
            <a:ext cx="0" cy="667076"/>
          </a:xfrm>
          <a:prstGeom prst="line">
            <a:avLst/>
          </a:prstGeom>
          <a:ln w="8255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Oval 78">
            <a:extLst>
              <a:ext uri="{FF2B5EF4-FFF2-40B4-BE49-F238E27FC236}">
                <a16:creationId xmlns:a16="http://schemas.microsoft.com/office/drawing/2014/main" id="{8211268F-E45F-4F75-9B4E-5A9A1F085943}"/>
              </a:ext>
            </a:extLst>
          </p:cNvPr>
          <p:cNvSpPr/>
          <p:nvPr/>
        </p:nvSpPr>
        <p:spPr>
          <a:xfrm>
            <a:off x="7353118" y="1997653"/>
            <a:ext cx="1575038" cy="1575038"/>
          </a:xfrm>
          <a:prstGeom prst="ellipse">
            <a:avLst/>
          </a:prstGeom>
          <a:solidFill>
            <a:schemeClr val="accent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FD70A0E-5A6C-49E2-A2D5-FBDA5A3BC368}"/>
              </a:ext>
            </a:extLst>
          </p:cNvPr>
          <p:cNvCxnSpPr>
            <a:cxnSpLocks/>
            <a:stCxn id="79" idx="4"/>
          </p:cNvCxnSpPr>
          <p:nvPr/>
        </p:nvCxnSpPr>
        <p:spPr>
          <a:xfrm>
            <a:off x="8140637" y="3572691"/>
            <a:ext cx="0" cy="667076"/>
          </a:xfrm>
          <a:prstGeom prst="line">
            <a:avLst/>
          </a:prstGeom>
          <a:ln w="82550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0C99700F-C2EA-45FB-BBDA-E196EC3461FD}"/>
              </a:ext>
            </a:extLst>
          </p:cNvPr>
          <p:cNvSpPr/>
          <p:nvPr/>
        </p:nvSpPr>
        <p:spPr>
          <a:xfrm>
            <a:off x="9675471" y="1997653"/>
            <a:ext cx="1575038" cy="1575038"/>
          </a:xfrm>
          <a:prstGeom prst="ellipse">
            <a:avLst/>
          </a:prstGeom>
          <a:solidFill>
            <a:schemeClr val="accent6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B52CAC5-C8BB-4D01-9A94-C02E95E9F5B5}"/>
              </a:ext>
            </a:extLst>
          </p:cNvPr>
          <p:cNvCxnSpPr>
            <a:cxnSpLocks/>
            <a:stCxn id="81" idx="4"/>
          </p:cNvCxnSpPr>
          <p:nvPr/>
        </p:nvCxnSpPr>
        <p:spPr>
          <a:xfrm>
            <a:off x="10462990" y="3572691"/>
            <a:ext cx="0" cy="667076"/>
          </a:xfrm>
          <a:prstGeom prst="line">
            <a:avLst/>
          </a:prstGeom>
          <a:ln w="82550" cap="rnd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C53725FF-7B3F-4885-A720-F94658426178}"/>
              </a:ext>
            </a:extLst>
          </p:cNvPr>
          <p:cNvSpPr/>
          <p:nvPr/>
        </p:nvSpPr>
        <p:spPr>
          <a:xfrm>
            <a:off x="2492038" y="4395575"/>
            <a:ext cx="2302204" cy="1569660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  <a:t>Hold regularly scheduled staff meetings to fine-tune vaccination protocols and review missed opportunities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04614E5-869F-4318-99C7-2008A0AAA886}"/>
              </a:ext>
            </a:extLst>
          </p:cNvPr>
          <p:cNvSpPr/>
          <p:nvPr/>
        </p:nvSpPr>
        <p:spPr>
          <a:xfrm>
            <a:off x="6987400" y="4395575"/>
            <a:ext cx="2302204" cy="1569660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  <a:t>Use telehealth visits to verify immunization status and encourage appointment scheduling for those eligible for vaccination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84E2B9A2-A042-4806-B292-B73689263C53}"/>
              </a:ext>
            </a:extLst>
          </p:cNvPr>
          <p:cNvSpPr/>
          <p:nvPr/>
        </p:nvSpPr>
        <p:spPr>
          <a:xfrm>
            <a:off x="9212497" y="4395575"/>
            <a:ext cx="2596833" cy="1569660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  <a:t>Establish expectations </a:t>
            </a:r>
            <a:br>
              <a:rPr kumimoji="0" lang="en-US" sz="1600" b="0" i="0" u="none" strike="noStrike" kern="1200" cap="none" spc="-50" normalizeH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</a:br>
            <a:r>
              <a:rPr kumimoji="0" lang="en-US" sz="1600" b="0" i="0" u="none" strike="noStrike" kern="1200" cap="none" spc="-50" normalizeH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  <a:t>of compliance with the </a:t>
            </a:r>
            <a:br>
              <a:rPr kumimoji="0" lang="en-US" sz="1600" b="0" i="0" u="none" strike="noStrike" kern="1200" cap="none" spc="-50" normalizeH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</a:br>
            <a:r>
              <a:rPr kumimoji="0" lang="en-US" sz="1600" b="0" i="0" u="none" strike="noStrike" kern="1200" cap="none" spc="-50" normalizeH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  <a:t>ACIP-recommended immunization schedule </a:t>
            </a:r>
            <a:br>
              <a:rPr kumimoji="0" lang="en-US" sz="1600" b="0" i="0" u="none" strike="noStrike" kern="1200" cap="none" spc="-50" normalizeH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</a:br>
            <a:r>
              <a:rPr kumimoji="0" lang="en-US" sz="1600" b="0" i="0" u="none" strike="noStrike" kern="1200" cap="none" spc="-50" normalizeH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  <a:t>with patients, healthcare providers, and the entire staff</a:t>
            </a: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084C5E01-7C6A-465F-895B-3F6BA634B8F7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100000"/>
          </a:blip>
          <a:stretch>
            <a:fillRect/>
          </a:stretch>
        </p:blipFill>
        <p:spPr>
          <a:xfrm flipH="1">
            <a:off x="3301046" y="2416484"/>
            <a:ext cx="739573" cy="737376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144B45A9-C1EA-436E-8E20-ADC9A794E300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9921510" y="2216298"/>
            <a:ext cx="1121930" cy="1194311"/>
          </a:xfrm>
          <a:prstGeom prst="rect">
            <a:avLst/>
          </a:prstGeom>
        </p:spPr>
      </p:pic>
      <p:sp>
        <p:nvSpPr>
          <p:cNvPr id="88" name="Oval 87">
            <a:extLst>
              <a:ext uri="{FF2B5EF4-FFF2-40B4-BE49-F238E27FC236}">
                <a16:creationId xmlns:a16="http://schemas.microsoft.com/office/drawing/2014/main" id="{961F21A9-BB3C-4F26-90AA-5D6C8F219345}"/>
              </a:ext>
            </a:extLst>
          </p:cNvPr>
          <p:cNvSpPr/>
          <p:nvPr/>
        </p:nvSpPr>
        <p:spPr>
          <a:xfrm>
            <a:off x="5101369" y="2011015"/>
            <a:ext cx="1575038" cy="1575038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070DAD5C-3DE9-428A-B727-17A5661BBEB8}"/>
              </a:ext>
            </a:extLst>
          </p:cNvPr>
          <p:cNvCxnSpPr>
            <a:cxnSpLocks/>
            <a:stCxn id="88" idx="4"/>
          </p:cNvCxnSpPr>
          <p:nvPr/>
        </p:nvCxnSpPr>
        <p:spPr>
          <a:xfrm>
            <a:off x="5888888" y="3586053"/>
            <a:ext cx="0" cy="667076"/>
          </a:xfrm>
          <a:prstGeom prst="line">
            <a:avLst/>
          </a:prstGeom>
          <a:ln w="825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8BD33EA0-8716-44FC-8508-BC31DF610140}"/>
              </a:ext>
            </a:extLst>
          </p:cNvPr>
          <p:cNvSpPr/>
          <p:nvPr/>
        </p:nvSpPr>
        <p:spPr>
          <a:xfrm>
            <a:off x="4904908" y="4395575"/>
            <a:ext cx="1982986" cy="1569660"/>
          </a:xfrm>
          <a:prstGeom prst="rect">
            <a:avLst/>
          </a:prstGeom>
        </p:spPr>
        <p:txBody>
          <a:bodyPr wrap="square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  <a:t>Establish electronic medical record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  <a:t>and patient reminders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</a:rPr>
              <a:t>to ensure timely immunization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DE8ACBFD-3ABF-45B9-8215-FF4157BDC819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100000"/>
          </a:blip>
          <a:stretch>
            <a:fillRect/>
          </a:stretch>
        </p:blipFill>
        <p:spPr>
          <a:xfrm>
            <a:off x="5504676" y="2412954"/>
            <a:ext cx="752501" cy="679443"/>
          </a:xfrm>
          <a:prstGeom prst="rect">
            <a:avLst/>
          </a:prstGeom>
        </p:spPr>
      </p:pic>
      <p:pic>
        <p:nvPicPr>
          <p:cNvPr id="92" name="Graphic 91" descr="Call center">
            <a:extLst>
              <a:ext uri="{FF2B5EF4-FFF2-40B4-BE49-F238E27FC236}">
                <a16:creationId xmlns:a16="http://schemas.microsoft.com/office/drawing/2014/main" id="{5D4D891B-C32E-496D-B5A0-07235DDB29DF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100000"/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83437" y="2295475"/>
            <a:ext cx="914400" cy="914400"/>
          </a:xfrm>
          <a:prstGeom prst="rect">
            <a:avLst/>
          </a:prstGeom>
        </p:spPr>
      </p:pic>
      <p:sp>
        <p:nvSpPr>
          <p:cNvPr id="93" name="Text Placeholder 4">
            <a:extLst>
              <a:ext uri="{FF2B5EF4-FFF2-40B4-BE49-F238E27FC236}">
                <a16:creationId xmlns:a16="http://schemas.microsoft.com/office/drawing/2014/main" id="{BE3C477E-7529-432F-AA8B-91C0DEF460FA}"/>
              </a:ext>
            </a:extLst>
          </p:cNvPr>
          <p:cNvSpPr txBox="1">
            <a:spLocks/>
          </p:cNvSpPr>
          <p:nvPr/>
        </p:nvSpPr>
        <p:spPr>
          <a:xfrm>
            <a:off x="525548" y="1343018"/>
            <a:ext cx="11140904" cy="869812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13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13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13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Actions for you and your practice to implement </a:t>
            </a:r>
            <a:r>
              <a:rPr lang="en-US" sz="2000">
                <a:solidFill>
                  <a:schemeClr val="accent1"/>
                </a:solidFill>
                <a:latin typeface="Franklin Gothic Book" panose="020B0503020102020204" pitchFamily="34" charset="0"/>
              </a:rPr>
              <a:t>to avoid missed vaccination opportunities this season </a:t>
            </a:r>
            <a:endParaRPr lang="en-US" sz="2000" i="0">
              <a:solidFill>
                <a:schemeClr val="accent1"/>
              </a:solidFill>
              <a:effectLst/>
              <a:latin typeface="Franklin Gothic Book" panose="020B0503020102020204" pitchFamily="34" charset="0"/>
            </a:endParaRPr>
          </a:p>
        </p:txBody>
      </p:sp>
      <p:sp>
        <p:nvSpPr>
          <p:cNvPr id="29" name="Footer Placeholder 1">
            <a:extLst>
              <a:ext uri="{FF2B5EF4-FFF2-40B4-BE49-F238E27FC236}">
                <a16:creationId xmlns:a16="http://schemas.microsoft.com/office/drawing/2014/main" id="{3E7C7BC9-9D22-42A0-B1F5-032D7ADEA4C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423268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440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: Diagonal Corners Rounded 34">
            <a:extLst>
              <a:ext uri="{FF2B5EF4-FFF2-40B4-BE49-F238E27FC236}">
                <a16:creationId xmlns:a16="http://schemas.microsoft.com/office/drawing/2014/main" id="{6CB790EF-95FB-415A-8520-792CD39F3A46}"/>
              </a:ext>
            </a:extLst>
          </p:cNvPr>
          <p:cNvSpPr/>
          <p:nvPr/>
        </p:nvSpPr>
        <p:spPr>
          <a:xfrm>
            <a:off x="4732981" y="1808806"/>
            <a:ext cx="3287568" cy="2773603"/>
          </a:xfrm>
          <a:prstGeom prst="round2DiagRect">
            <a:avLst>
              <a:gd name="adj1" fmla="val 0"/>
              <a:gd name="adj2" fmla="val 19373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8F3FCB24-3DE1-4533-8A81-60BA623FD08C}"/>
              </a:ext>
            </a:extLst>
          </p:cNvPr>
          <p:cNvSpPr/>
          <p:nvPr/>
        </p:nvSpPr>
        <p:spPr>
          <a:xfrm>
            <a:off x="597636" y="1808807"/>
            <a:ext cx="3215480" cy="2773603"/>
          </a:xfrm>
          <a:prstGeom prst="round2Diag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5" y="594287"/>
            <a:ext cx="10271390" cy="654470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HCPs Recommendation On Vaccinations Makes A Difference</a:t>
            </a:r>
            <a:r>
              <a:rPr lang="en-US" sz="2800" baseline="30000">
                <a:solidFill>
                  <a:schemeClr val="accent2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</a:t>
            </a:r>
            <a:endParaRPr lang="en-US" sz="2800">
              <a:solidFill>
                <a:schemeClr val="accent2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9D42744B-412E-43AD-9B13-9027C68B4943}"/>
              </a:ext>
            </a:extLst>
          </p:cNvPr>
          <p:cNvSpPr txBox="1">
            <a:spLocks/>
          </p:cNvSpPr>
          <p:nvPr/>
        </p:nvSpPr>
        <p:spPr>
          <a:xfrm>
            <a:off x="525548" y="1227060"/>
            <a:ext cx="11140904" cy="869812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In a </a:t>
            </a:r>
            <a:r>
              <a:rPr lang="en-US" sz="2000">
                <a:solidFill>
                  <a:schemeClr val="accent1"/>
                </a:solidFill>
                <a:latin typeface="Franklin Gothic Book" panose="020B0503020102020204" pitchFamily="34" charset="0"/>
              </a:rPr>
              <a:t>s</a:t>
            </a:r>
            <a:r>
              <a:rPr lang="en-US" sz="2000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tudy </a:t>
            </a:r>
            <a:r>
              <a:rPr lang="en-US" sz="2000">
                <a:solidFill>
                  <a:schemeClr val="accent1"/>
                </a:solidFill>
                <a:latin typeface="Franklin Gothic Book" panose="020B0503020102020204" pitchFamily="34" charset="0"/>
              </a:rPr>
              <a:t>a</a:t>
            </a:r>
            <a:r>
              <a:rPr lang="en-US" sz="2000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nalyzing 111 vaccine </a:t>
            </a:r>
            <a:r>
              <a:rPr lang="en-US" sz="2000">
                <a:solidFill>
                  <a:schemeClr val="accent1"/>
                </a:solidFill>
                <a:latin typeface="Franklin Gothic Book" panose="020B0503020102020204" pitchFamily="34" charset="0"/>
              </a:rPr>
              <a:t>d</a:t>
            </a:r>
            <a:r>
              <a:rPr lang="en-US" sz="2000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iscussions </a:t>
            </a:r>
            <a:r>
              <a:rPr lang="en-US" sz="2000">
                <a:solidFill>
                  <a:schemeClr val="accent1"/>
                </a:solidFill>
                <a:latin typeface="Franklin Gothic Book" panose="020B0503020102020204" pitchFamily="34" charset="0"/>
              </a:rPr>
              <a:t>i</a:t>
            </a:r>
            <a:r>
              <a:rPr lang="en-US" sz="2000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n 9 practices:</a:t>
            </a:r>
            <a:r>
              <a:rPr lang="en-US" sz="2000" baseline="30000">
                <a:latin typeface="Franklin Gothic Book" panose="020B0503020102020204" pitchFamily="34" charset="0"/>
                <a:cs typeface="Arial" panose="020B0604020202020204" pitchFamily="34" charset="0"/>
              </a:rPr>
              <a:t>1</a:t>
            </a:r>
            <a:endParaRPr lang="en-US" sz="2000" i="0">
              <a:effectLst/>
              <a:latin typeface="Franklin Gothic Book" panose="020B0503020102020204" pitchFamily="34" charset="0"/>
            </a:endParaRPr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D5435FFD-9996-474B-BF53-ED19A78A8B5F}"/>
              </a:ext>
            </a:extLst>
          </p:cNvPr>
          <p:cNvSpPr txBox="1">
            <a:spLocks/>
          </p:cNvSpPr>
          <p:nvPr/>
        </p:nvSpPr>
        <p:spPr>
          <a:xfrm>
            <a:off x="452859" y="1313058"/>
            <a:ext cx="10843038" cy="4771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66688" indent="-166688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charset="0"/>
              <a:buChar char="•"/>
              <a:tabLst>
                <a:tab pos="8459788" algn="r"/>
              </a:tabLst>
              <a:defRPr sz="1800" b="0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0038" indent="-13335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Font typeface="Arial" charset="0"/>
              <a:buChar char="•"/>
              <a:tabLst>
                <a:tab pos="8460000" algn="r"/>
              </a:tabLst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1462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None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b="1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E18D621D-0635-4ED3-8836-4F2B97CB2755}"/>
              </a:ext>
            </a:extLst>
          </p:cNvPr>
          <p:cNvSpPr txBox="1">
            <a:spLocks/>
          </p:cNvSpPr>
          <p:nvPr/>
        </p:nvSpPr>
        <p:spPr>
          <a:xfrm>
            <a:off x="154132" y="1990600"/>
            <a:ext cx="3287568" cy="27685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/>
              <a:t>WHEN HCPs utilized a PRESUMPTIVE APPROACH</a:t>
            </a:r>
          </a:p>
          <a:p>
            <a:pPr algn="r"/>
            <a:r>
              <a:rPr lang="en-US" sz="6400">
                <a:solidFill>
                  <a:schemeClr val="accent2"/>
                </a:solidFill>
              </a:rPr>
              <a:t>~</a:t>
            </a:r>
            <a:r>
              <a:rPr lang="en-US" sz="6400" b="1">
                <a:solidFill>
                  <a:schemeClr val="accent2"/>
                </a:solidFill>
              </a:rPr>
              <a:t>74</a:t>
            </a:r>
            <a:r>
              <a:rPr lang="en-US" sz="4400" b="1">
                <a:solidFill>
                  <a:schemeClr val="accent2"/>
                </a:solidFill>
              </a:rPr>
              <a:t>%</a:t>
            </a:r>
            <a:r>
              <a:rPr lang="en-US" sz="6400"/>
              <a:t> </a:t>
            </a:r>
          </a:p>
          <a:p>
            <a:pPr algn="r"/>
            <a:r>
              <a:rPr lang="en-US" sz="1600"/>
              <a:t>OF PARENTS SHOWED ACCEPTANCE.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1A19B5F7-9E1E-43C9-A1D5-96A1EDEC6C62}"/>
              </a:ext>
            </a:extLst>
          </p:cNvPr>
          <p:cNvSpPr txBox="1">
            <a:spLocks/>
          </p:cNvSpPr>
          <p:nvPr/>
        </p:nvSpPr>
        <p:spPr>
          <a:xfrm>
            <a:off x="5016603" y="1953393"/>
            <a:ext cx="3287568" cy="24894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WHEN HCPs utilized a PARTICIPATORY APPROACH</a:t>
            </a:r>
          </a:p>
          <a:p>
            <a:r>
              <a:rPr lang="en-US" sz="6200">
                <a:solidFill>
                  <a:schemeClr val="accent3"/>
                </a:solidFill>
              </a:rPr>
              <a:t>~</a:t>
            </a:r>
            <a:r>
              <a:rPr lang="en-US" sz="6200" b="1">
                <a:solidFill>
                  <a:schemeClr val="accent3"/>
                </a:solidFill>
              </a:rPr>
              <a:t>17</a:t>
            </a:r>
            <a:r>
              <a:rPr lang="en-US" sz="4400" b="1">
                <a:solidFill>
                  <a:schemeClr val="accent3"/>
                </a:solidFill>
              </a:rPr>
              <a:t>%</a:t>
            </a:r>
            <a:r>
              <a:rPr lang="en-US" sz="1600" b="1"/>
              <a:t> </a:t>
            </a:r>
          </a:p>
          <a:p>
            <a:r>
              <a:rPr lang="en-US" sz="1600"/>
              <a:t>OF PARENTS SHOWED ACCEPTANCE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78D777E-7280-4BF3-8163-6891F436928F}"/>
              </a:ext>
            </a:extLst>
          </p:cNvPr>
          <p:cNvSpPr txBox="1"/>
          <p:nvPr/>
        </p:nvSpPr>
        <p:spPr>
          <a:xfrm>
            <a:off x="501977" y="5619113"/>
            <a:ext cx="852591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i="1">
                <a:solidFill>
                  <a:schemeClr val="accent1"/>
                </a:solidFill>
              </a:rPr>
              <a:t>Study limitations: </a:t>
            </a:r>
            <a:r>
              <a:rPr lang="en-US" sz="1300" i="1">
                <a:solidFill>
                  <a:schemeClr val="accent1"/>
                </a:solidFill>
              </a:rPr>
              <a:t>Study was limited to a single geographic location; Direct observation of the provider-patient interaction may have provoked non natural communication</a:t>
            </a:r>
            <a:r>
              <a:rPr lang="en-US" sz="1300" baseline="30000">
                <a:solidFill>
                  <a:schemeClr val="accent1"/>
                </a:solidFill>
                <a:latin typeface="Franklin Gothic Book" panose="020B0503020102020204" pitchFamily="34" charset="0"/>
              </a:rPr>
              <a:t>1</a:t>
            </a:r>
            <a:endParaRPr lang="en-US" sz="1300" i="1" baseline="30000">
              <a:solidFill>
                <a:schemeClr val="accent1"/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3619223-DB90-4D32-B0D4-4007B2C79FD6}"/>
              </a:ext>
            </a:extLst>
          </p:cNvPr>
          <p:cNvSpPr txBox="1">
            <a:spLocks/>
          </p:cNvSpPr>
          <p:nvPr/>
        </p:nvSpPr>
        <p:spPr>
          <a:xfrm>
            <a:off x="3837089" y="2467784"/>
            <a:ext cx="919503" cy="11628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7200">
                <a:latin typeface="Verdana Pro Light" panose="020B0604020202020204" pitchFamily="34" charset="0"/>
              </a:rPr>
              <a:t>&amp;</a:t>
            </a:r>
            <a:r>
              <a:rPr lang="en-US" sz="7200"/>
              <a:t> 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C57ABEF2-2993-4F8A-B0A2-1F0389538496}"/>
              </a:ext>
            </a:extLst>
          </p:cNvPr>
          <p:cNvSpPr txBox="1">
            <a:spLocks/>
          </p:cNvSpPr>
          <p:nvPr/>
        </p:nvSpPr>
        <p:spPr>
          <a:xfrm>
            <a:off x="1725433" y="6253391"/>
            <a:ext cx="8417634" cy="469712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b="1">
                <a:latin typeface="+mj-lt"/>
                <a:cs typeface="Arial" panose="020B0604020202020204" pitchFamily="34" charset="0"/>
              </a:rPr>
              <a:t>References: 1. </a:t>
            </a:r>
            <a:r>
              <a:rPr lang="en-US">
                <a:latin typeface="+mj-lt"/>
              </a:rPr>
              <a:t>Opel DJ, Heritage J, Taylor JA, et al. The architecture of provider-parent vaccine discussions at health supervision visits. </a:t>
            </a:r>
            <a:r>
              <a:rPr lang="en-US" i="1">
                <a:latin typeface="+mj-lt"/>
              </a:rPr>
              <a:t>Pediatrics.</a:t>
            </a:r>
            <a:r>
              <a:rPr lang="en-US">
                <a:latin typeface="+mj-lt"/>
              </a:rPr>
              <a:t> 2013;132(6):1037-1046. </a:t>
            </a:r>
            <a:r>
              <a:rPr lang="en-US" b="1">
                <a:latin typeface="+mj-lt"/>
              </a:rPr>
              <a:t>2.</a:t>
            </a:r>
            <a:r>
              <a:rPr lang="en-US">
                <a:latin typeface="+mj-lt"/>
              </a:rPr>
              <a:t> Jacobson RM, St </a:t>
            </a:r>
            <a:r>
              <a:rPr lang="en-US" err="1">
                <a:latin typeface="+mj-lt"/>
              </a:rPr>
              <a:t>Sauver</a:t>
            </a:r>
            <a:r>
              <a:rPr lang="en-US">
                <a:latin typeface="+mj-lt"/>
              </a:rPr>
              <a:t> JL, Griffin JM, MacLaughlin KL, Finney Rutten LJ. How health care providers should address vaccine hesitancy in the clinical setting: evidence for presumptive language in making a strong recommendation. </a:t>
            </a:r>
            <a:r>
              <a:rPr lang="en-US" i="1">
                <a:latin typeface="+mj-lt"/>
              </a:rPr>
              <a:t>Hum </a:t>
            </a:r>
            <a:r>
              <a:rPr lang="en-US" i="1" err="1">
                <a:latin typeface="+mj-lt"/>
              </a:rPr>
              <a:t>Vaccin</a:t>
            </a:r>
            <a:r>
              <a:rPr lang="en-US" i="1">
                <a:latin typeface="+mj-lt"/>
              </a:rPr>
              <a:t> </a:t>
            </a:r>
            <a:r>
              <a:rPr lang="en-US" i="1" err="1">
                <a:latin typeface="+mj-lt"/>
              </a:rPr>
              <a:t>Immunother</a:t>
            </a:r>
            <a:r>
              <a:rPr lang="en-US">
                <a:latin typeface="+mj-lt"/>
              </a:rPr>
              <a:t>. 2020;16(9):2131-2135</a:t>
            </a:r>
            <a:r>
              <a:rPr lang="en-US">
                <a:latin typeface="Arial "/>
              </a:rPr>
              <a:t>. </a:t>
            </a: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3EFA416C-2CB5-4440-9641-0B69FE82518C}"/>
              </a:ext>
            </a:extLst>
          </p:cNvPr>
          <p:cNvSpPr txBox="1">
            <a:spLocks noChangeArrowheads="1"/>
          </p:cNvSpPr>
          <p:nvPr/>
        </p:nvSpPr>
        <p:spPr>
          <a:xfrm>
            <a:off x="8636418" y="1808806"/>
            <a:ext cx="2972731" cy="3179653"/>
          </a:xfrm>
          <a:prstGeom prst="rect">
            <a:avLst/>
          </a:prstGeom>
        </p:spPr>
        <p:txBody>
          <a:bodyPr/>
          <a:lstStyle>
            <a:lvl1pPr marL="139700" indent="-139700" algn="l" defTabSz="6858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Font typeface="Arial" charset="0"/>
              <a:buChar char="•"/>
              <a:tabLst/>
              <a:defRPr sz="2000" b="1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71463" indent="-1365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6400" indent="-1349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800"/>
              </a:spcBef>
              <a:buClr>
                <a:schemeClr val="accent2"/>
              </a:buClr>
              <a:buSzPct val="120000"/>
              <a:defRPr/>
            </a:pPr>
            <a:r>
              <a:rPr lang="en-US" sz="1600">
                <a:solidFill>
                  <a:schemeClr val="accent1"/>
                </a:solidFill>
              </a:rPr>
              <a:t>Presumptive language uses phrases such as </a:t>
            </a:r>
            <a:r>
              <a:rPr lang="en-US" sz="1600" b="1">
                <a:solidFill>
                  <a:schemeClr val="accent1"/>
                </a:solidFill>
              </a:rPr>
              <a:t>“The nurse will return with the vaccine due.”</a:t>
            </a:r>
          </a:p>
          <a:p>
            <a:pPr lvl="1">
              <a:spcBef>
                <a:spcPts val="800"/>
              </a:spcBef>
              <a:buClr>
                <a:schemeClr val="accent2"/>
              </a:buClr>
              <a:defRPr/>
            </a:pPr>
            <a:endParaRPr lang="en-US" sz="1600" b="1">
              <a:solidFill>
                <a:schemeClr val="accent1"/>
              </a:solidFill>
            </a:endParaRPr>
          </a:p>
          <a:p>
            <a:pPr lvl="1">
              <a:spcBef>
                <a:spcPts val="800"/>
              </a:spcBef>
              <a:buClr>
                <a:schemeClr val="accent3"/>
              </a:buClr>
              <a:buSzPct val="120000"/>
              <a:defRPr/>
            </a:pPr>
            <a:r>
              <a:rPr lang="en-US" sz="1600">
                <a:solidFill>
                  <a:schemeClr val="accent1"/>
                </a:solidFill>
              </a:rPr>
              <a:t>Participatory language uses phrases such as </a:t>
            </a:r>
            <a:r>
              <a:rPr lang="en-US" sz="1600" b="1">
                <a:solidFill>
                  <a:schemeClr val="accent1"/>
                </a:solidFill>
              </a:rPr>
              <a:t>“What are you planning to do about the vaccines?”</a:t>
            </a:r>
          </a:p>
          <a:p>
            <a:pPr lvl="1">
              <a:spcBef>
                <a:spcPts val="800"/>
              </a:spcBef>
              <a:buClr>
                <a:schemeClr val="accent3"/>
              </a:buClr>
              <a:buSzPct val="120000"/>
              <a:defRPr/>
            </a:pPr>
            <a:endParaRPr lang="en-US" sz="1600" b="1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A412CF7-7635-438F-ACC9-870E3EABC535}"/>
              </a:ext>
            </a:extLst>
          </p:cNvPr>
          <p:cNvSpPr txBox="1"/>
          <p:nvPr/>
        </p:nvSpPr>
        <p:spPr>
          <a:xfrm>
            <a:off x="525548" y="4791721"/>
            <a:ext cx="11140904" cy="715089"/>
          </a:xfrm>
          <a:prstGeom prst="round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  <a:latin typeface="Franklin Gothic Book" panose="020B0503020102020204" pitchFamily="34" charset="0"/>
              </a:rPr>
              <a:t>Parents &amp; patients report the value of a provider recommendation, and </a:t>
            </a:r>
            <a:r>
              <a:rPr lang="en-US" b="1" u="sng">
                <a:solidFill>
                  <a:schemeClr val="accent1"/>
                </a:solidFill>
                <a:latin typeface="Franklin Gothic Book" panose="020B0503020102020204" pitchFamily="34" charset="0"/>
              </a:rPr>
              <a:t>stronger recommendations using presumptive language</a:t>
            </a:r>
            <a:r>
              <a:rPr lang="en-US" b="1">
                <a:solidFill>
                  <a:schemeClr val="accent1"/>
                </a:solidFill>
                <a:latin typeface="Franklin Gothic Book" panose="020B0503020102020204" pitchFamily="34" charset="0"/>
              </a:rPr>
              <a:t> are effective at improving vaccination rates</a:t>
            </a:r>
            <a:r>
              <a:rPr lang="en-US" b="1" baseline="30000">
                <a:solidFill>
                  <a:schemeClr val="accent1"/>
                </a:solidFill>
                <a:latin typeface="Franklin Gothic Book" panose="020B0503020102020204" pitchFamily="34" charset="0"/>
              </a:rPr>
              <a:t>2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A5779E-3DC9-4036-B230-99B167E65A03}"/>
              </a:ext>
            </a:extLst>
          </p:cNvPr>
          <p:cNvCxnSpPr/>
          <p:nvPr/>
        </p:nvCxnSpPr>
        <p:spPr>
          <a:xfrm>
            <a:off x="8522154" y="3183527"/>
            <a:ext cx="3170511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3D1D88AD-0936-4157-86DD-837C6E2B72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72582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martArt Placeholder 2">
            <a:extLst>
              <a:ext uri="{FF2B5EF4-FFF2-40B4-BE49-F238E27FC236}">
                <a16:creationId xmlns:a16="http://schemas.microsoft.com/office/drawing/2014/main" id="{A764F002-135C-4FAB-8D25-B2250B04C003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3180965" y="1652485"/>
            <a:ext cx="83607" cy="96000"/>
          </a:xfrm>
        </p:spPr>
      </p:sp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A5F5215C-BF2A-4C1D-B747-41AA06A5DC1C}"/>
              </a:ext>
            </a:extLst>
          </p:cNvPr>
          <p:cNvSpPr>
            <a:spLocks noGrp="1"/>
          </p:cNvSpPr>
          <p:nvPr>
            <p:ph type="dgm" sz="quarter" idx="19"/>
          </p:nvPr>
        </p:nvSpPr>
        <p:spPr>
          <a:xfrm>
            <a:off x="3180966" y="5046185"/>
            <a:ext cx="83607" cy="96000"/>
          </a:xfrm>
        </p:spPr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E01D71-4B54-4BDE-9315-43BD4BEFE4C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9C81796-677F-441F-A41D-A44F9494654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0" y="2796356"/>
            <a:ext cx="6361929" cy="537959"/>
          </a:xfrm>
        </p:spPr>
        <p:txBody>
          <a:bodyPr/>
          <a:lstStyle/>
          <a:p>
            <a:r>
              <a:rPr lang="en-US" sz="3600"/>
              <a:t>Flu Immunization Tools </a:t>
            </a:r>
          </a:p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90AED1-3B33-4718-B40D-6A47025BC05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4458" y="3703176"/>
            <a:ext cx="5516428" cy="537959"/>
          </a:xfrm>
        </p:spPr>
        <p:txBody>
          <a:bodyPr/>
          <a:lstStyle/>
          <a:p>
            <a:r>
              <a:rPr lang="en-US" sz="2000">
                <a:solidFill>
                  <a:schemeClr val="accent1"/>
                </a:solidFill>
                <a:latin typeface="Franklin Gothic Book" panose="020B0503020102020204" pitchFamily="34" charset="0"/>
                <a:cs typeface="Calibri" panose="020F0502020204030204" pitchFamily="34" charset="0"/>
              </a:rPr>
              <a:t>Resources to support your immunization efforts and help facilitate patient conversations around flu</a:t>
            </a:r>
            <a:endParaRPr lang="en-US" sz="1800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11" name="Picture Placeholder 9">
            <a:extLst>
              <a:ext uri="{FF2B5EF4-FFF2-40B4-BE49-F238E27FC236}">
                <a16:creationId xmlns:a16="http://schemas.microsoft.com/office/drawing/2014/main" id="{072504F5-9787-4D19-AEEB-11CAFECDDD8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80" r="56702"/>
          <a:stretch/>
        </p:blipFill>
        <p:spPr>
          <a:xfrm>
            <a:off x="6475940" y="90539"/>
            <a:ext cx="5716060" cy="6858000"/>
          </a:xfrm>
          <a:prstGeom prst="rect">
            <a:avLst/>
          </a:prstGeom>
          <a:noFill/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9484731-26F2-4938-95CD-86E83686A9E1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4FEFE5-C961-4291-B388-E445CAD5DF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3385" y="6638525"/>
            <a:ext cx="6462320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95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368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7E59DA2B-C4EE-44CC-B893-AC1A218CF6F7}"/>
              </a:ext>
            </a:extLst>
          </p:cNvPr>
          <p:cNvSpPr/>
          <p:nvPr/>
        </p:nvSpPr>
        <p:spPr>
          <a:xfrm>
            <a:off x="2996653" y="3865724"/>
            <a:ext cx="6198147" cy="438912"/>
          </a:xfrm>
          <a:prstGeom prst="homePlate">
            <a:avLst/>
          </a:prstGeom>
          <a:solidFill>
            <a:srgbClr val="E5C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F1051A19-7D6B-4C5E-B62C-720B7440035A}"/>
              </a:ext>
            </a:extLst>
          </p:cNvPr>
          <p:cNvSpPr/>
          <p:nvPr/>
        </p:nvSpPr>
        <p:spPr>
          <a:xfrm>
            <a:off x="2783294" y="3368198"/>
            <a:ext cx="4134342" cy="438912"/>
          </a:xfrm>
          <a:prstGeom prst="homePlate">
            <a:avLst/>
          </a:prstGeom>
          <a:solidFill>
            <a:srgbClr val="E5C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0156AA7A-6AAC-436F-A360-705908A50298}"/>
              </a:ext>
            </a:extLst>
          </p:cNvPr>
          <p:cNvSpPr/>
          <p:nvPr/>
        </p:nvSpPr>
        <p:spPr>
          <a:xfrm>
            <a:off x="2743616" y="2852572"/>
            <a:ext cx="863306" cy="438912"/>
          </a:xfrm>
          <a:prstGeom prst="homePlate">
            <a:avLst/>
          </a:prstGeom>
          <a:solidFill>
            <a:srgbClr val="E5C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Rectangle: Diagonal Corners Rounded 135">
            <a:extLst>
              <a:ext uri="{FF2B5EF4-FFF2-40B4-BE49-F238E27FC236}">
                <a16:creationId xmlns:a16="http://schemas.microsoft.com/office/drawing/2014/main" id="{A951788E-40CD-4BBF-907F-B9FF5DAC47E0}"/>
              </a:ext>
            </a:extLst>
          </p:cNvPr>
          <p:cNvSpPr/>
          <p:nvPr/>
        </p:nvSpPr>
        <p:spPr>
          <a:xfrm>
            <a:off x="597634" y="2346647"/>
            <a:ext cx="2651760" cy="438912"/>
          </a:xfrm>
          <a:prstGeom prst="round2DiagRect">
            <a:avLst>
              <a:gd name="adj1" fmla="val 0"/>
              <a:gd name="adj2" fmla="val 13614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>
                <a:solidFill>
                  <a:schemeClr val="accent1"/>
                </a:solidFill>
                <a:latin typeface="Franklin Gothic Demi Cond" panose="020B0706030402020204" pitchFamily="34" charset="0"/>
              </a:rPr>
              <a:t>Flu Shot Importa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3" y="594287"/>
            <a:ext cx="11779423" cy="654470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Patient Education Materials to Help Increase Flu Vaccination Coverag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8D17AA-BFCD-4E71-A007-1497F5A1D7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62962">
            <a:off x="7155436" y="2570950"/>
            <a:ext cx="1389702" cy="2585256"/>
          </a:xfrm>
          <a:prstGeom prst="rect">
            <a:avLst/>
          </a:prstGeom>
          <a:effectLst>
            <a:outerShdw blurRad="2032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AA8B8E4-AE79-4130-96EB-922A755CEF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8321" y="2138648"/>
            <a:ext cx="2222513" cy="2877317"/>
          </a:xfrm>
          <a:prstGeom prst="rect">
            <a:avLst/>
          </a:prstGeom>
          <a:effectLst>
            <a:outerShdw blurRad="2032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22" descr="Text&#10;&#10;Description automatically generated">
            <a:extLst>
              <a:ext uri="{FF2B5EF4-FFF2-40B4-BE49-F238E27FC236}">
                <a16:creationId xmlns:a16="http://schemas.microsoft.com/office/drawing/2014/main" id="{41111FA3-FDBC-4E7D-AA18-C2393CCDDF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05850" y="2561649"/>
            <a:ext cx="2214875" cy="2889579"/>
          </a:xfrm>
          <a:prstGeom prst="rect">
            <a:avLst/>
          </a:prstGeom>
          <a:effectLst>
            <a:outerShdw blurRad="2032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A677490-FB29-41BB-A63E-90D5C601693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94800" y="2165470"/>
            <a:ext cx="1774844" cy="1783418"/>
          </a:xfrm>
          <a:prstGeom prst="ellipse">
            <a:avLst/>
          </a:prstGeom>
          <a:effectLst>
            <a:outerShdw blurRad="2032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24" descr="Logo, company name&#10;&#10;Description automatically generated">
            <a:extLst>
              <a:ext uri="{FF2B5EF4-FFF2-40B4-BE49-F238E27FC236}">
                <a16:creationId xmlns:a16="http://schemas.microsoft.com/office/drawing/2014/main" id="{289267C8-A6D0-43DA-95CB-CDEAC3691DB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92295" y="3275467"/>
            <a:ext cx="1775112" cy="1739292"/>
          </a:xfrm>
          <a:prstGeom prst="ellipse">
            <a:avLst/>
          </a:prstGeom>
          <a:effectLst>
            <a:outerShdw blurRad="203200" dist="762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7" name="Rectangle: Diagonal Corners Rounded 136">
            <a:extLst>
              <a:ext uri="{FF2B5EF4-FFF2-40B4-BE49-F238E27FC236}">
                <a16:creationId xmlns:a16="http://schemas.microsoft.com/office/drawing/2014/main" id="{00D0455A-66EC-4A62-BD98-90A6746C7C2F}"/>
              </a:ext>
            </a:extLst>
          </p:cNvPr>
          <p:cNvSpPr/>
          <p:nvPr/>
        </p:nvSpPr>
        <p:spPr>
          <a:xfrm>
            <a:off x="597634" y="2852573"/>
            <a:ext cx="2651760" cy="438912"/>
          </a:xfrm>
          <a:prstGeom prst="round2DiagRect">
            <a:avLst>
              <a:gd name="adj1" fmla="val 0"/>
              <a:gd name="adj2" fmla="val 13614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>
                <a:solidFill>
                  <a:schemeClr val="accent1"/>
                </a:solidFill>
                <a:latin typeface="Franklin Gothic Demi Cond" panose="020B0706030402020204" pitchFamily="34" charset="0"/>
              </a:rPr>
              <a:t>Dispelling Flu Myths</a:t>
            </a:r>
          </a:p>
        </p:txBody>
      </p:sp>
      <p:sp>
        <p:nvSpPr>
          <p:cNvPr id="138" name="Rectangle: Diagonal Corners Rounded 137">
            <a:extLst>
              <a:ext uri="{FF2B5EF4-FFF2-40B4-BE49-F238E27FC236}">
                <a16:creationId xmlns:a16="http://schemas.microsoft.com/office/drawing/2014/main" id="{9329C989-283B-4121-A5F4-1F412649E7BA}"/>
              </a:ext>
            </a:extLst>
          </p:cNvPr>
          <p:cNvSpPr/>
          <p:nvPr/>
        </p:nvSpPr>
        <p:spPr>
          <a:xfrm>
            <a:off x="597634" y="3368198"/>
            <a:ext cx="2651760" cy="438912"/>
          </a:xfrm>
          <a:prstGeom prst="round2DiagRect">
            <a:avLst>
              <a:gd name="adj1" fmla="val 0"/>
              <a:gd name="adj2" fmla="val 13614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>
                <a:solidFill>
                  <a:schemeClr val="accent1"/>
                </a:solidFill>
                <a:latin typeface="Franklin Gothic Demi Cond" panose="020B0706030402020204" pitchFamily="34" charset="0"/>
              </a:rPr>
              <a:t>Pediatric Tear Pad</a:t>
            </a:r>
          </a:p>
        </p:txBody>
      </p:sp>
      <p:sp>
        <p:nvSpPr>
          <p:cNvPr id="139" name="Rectangle: Diagonal Corners Rounded 138">
            <a:extLst>
              <a:ext uri="{FF2B5EF4-FFF2-40B4-BE49-F238E27FC236}">
                <a16:creationId xmlns:a16="http://schemas.microsoft.com/office/drawing/2014/main" id="{8769EC71-48D1-4FBE-A78B-8B70023D84EE}"/>
              </a:ext>
            </a:extLst>
          </p:cNvPr>
          <p:cNvSpPr/>
          <p:nvPr/>
        </p:nvSpPr>
        <p:spPr>
          <a:xfrm>
            <a:off x="597634" y="3865724"/>
            <a:ext cx="2651760" cy="438912"/>
          </a:xfrm>
          <a:prstGeom prst="round2DiagRect">
            <a:avLst>
              <a:gd name="adj1" fmla="val 0"/>
              <a:gd name="adj2" fmla="val 13614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err="1">
                <a:solidFill>
                  <a:schemeClr val="accent1"/>
                </a:solidFill>
                <a:latin typeface="Franklin Gothic Demi Cond" panose="020B0706030402020204" pitchFamily="34" charset="0"/>
              </a:rPr>
              <a:t>Clingz</a:t>
            </a:r>
            <a:r>
              <a:rPr lang="en-US">
                <a:solidFill>
                  <a:schemeClr val="accent1"/>
                </a:solidFill>
                <a:latin typeface="Franklin Gothic Demi Cond" panose="020B0706030402020204" pitchFamily="34" charset="0"/>
              </a:rPr>
              <a:t> (Spanish &amp; English)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A2D04D7-1018-4033-A01B-60F683A3B398}"/>
              </a:ext>
            </a:extLst>
          </p:cNvPr>
          <p:cNvSpPr txBox="1">
            <a:spLocks/>
          </p:cNvSpPr>
          <p:nvPr/>
        </p:nvSpPr>
        <p:spPr>
          <a:xfrm>
            <a:off x="525546" y="953388"/>
            <a:ext cx="11224421" cy="869812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11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11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11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Resources for your patients to learn more about the burden of flu and the importance of flu vaccination</a:t>
            </a:r>
          </a:p>
        </p:txBody>
      </p:sp>
      <p:sp>
        <p:nvSpPr>
          <p:cNvPr id="22" name="Footer Placeholder 1">
            <a:extLst>
              <a:ext uri="{FF2B5EF4-FFF2-40B4-BE49-F238E27FC236}">
                <a16:creationId xmlns:a16="http://schemas.microsoft.com/office/drawing/2014/main" id="{D39F0668-5226-4814-8D60-3C5050849B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312704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5401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0A28896F-BC07-466F-9D65-4820E89511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97587" y="2181411"/>
            <a:ext cx="2332870" cy="1501391"/>
          </a:xfrm>
          <a:prstGeom prst="rect">
            <a:avLst/>
          </a:prstGeom>
          <a:effectLst>
            <a:outerShdw blurRad="190500" dist="762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6" name="Rectangle: Diagonal Corners Rounded 135">
            <a:extLst>
              <a:ext uri="{FF2B5EF4-FFF2-40B4-BE49-F238E27FC236}">
                <a16:creationId xmlns:a16="http://schemas.microsoft.com/office/drawing/2014/main" id="{A951788E-40CD-4BBF-907F-B9FF5DAC47E0}"/>
              </a:ext>
            </a:extLst>
          </p:cNvPr>
          <p:cNvSpPr/>
          <p:nvPr/>
        </p:nvSpPr>
        <p:spPr>
          <a:xfrm>
            <a:off x="1298381" y="1540359"/>
            <a:ext cx="3163858" cy="438912"/>
          </a:xfrm>
          <a:prstGeom prst="round2DiagRect">
            <a:avLst>
              <a:gd name="adj1" fmla="val 0"/>
              <a:gd name="adj2" fmla="val 13614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accent1"/>
                </a:solidFill>
                <a:latin typeface="Franklin Gothic Demi Cond" panose="020B0706030402020204" pitchFamily="34" charset="0"/>
              </a:rPr>
              <a:t>Clinic Guida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3" y="594287"/>
            <a:ext cx="11297731" cy="428130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Adaptive Vaccination Solutions Overview and Clinic Signage</a:t>
            </a:r>
            <a:endParaRPr lang="en-US" sz="1400">
              <a:latin typeface="Franklin Gothic Book" panose="020B05030201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" name="Picture 3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D107D22-F7C8-4ABF-A6E2-D3161AD8D9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99767" y="2398052"/>
            <a:ext cx="1685568" cy="2097540"/>
          </a:xfrm>
          <a:prstGeom prst="rect">
            <a:avLst/>
          </a:prstGeom>
          <a:effectLst>
            <a:outerShdw blurRad="304800" dist="101600" dir="2700000" algn="tl" rotWithShape="0">
              <a:srgbClr val="000000">
                <a:alpha val="43137"/>
              </a:srgbClr>
            </a:outerShdw>
          </a:effectLst>
        </p:spPr>
      </p:pic>
      <p:pic>
        <p:nvPicPr>
          <p:cNvPr id="45" name="Picture 29">
            <a:extLst>
              <a:ext uri="{FF2B5EF4-FFF2-40B4-BE49-F238E27FC236}">
                <a16:creationId xmlns:a16="http://schemas.microsoft.com/office/drawing/2014/main" id="{7898E5FD-ED1D-45DD-AE76-F038AC64D5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92426" y="2972046"/>
            <a:ext cx="1596524" cy="2095131"/>
          </a:xfrm>
          <a:prstGeom prst="rect">
            <a:avLst/>
          </a:prstGeom>
          <a:effectLst>
            <a:outerShdw blurRad="304800" dist="101600" dir="2700000" algn="tl" rotWithShape="0">
              <a:srgbClr val="000000">
                <a:alpha val="43137"/>
              </a:srgbClr>
            </a:outerShdw>
          </a:effectLst>
        </p:spPr>
      </p:pic>
      <p:pic>
        <p:nvPicPr>
          <p:cNvPr id="46" name="Picture 30">
            <a:extLst>
              <a:ext uri="{FF2B5EF4-FFF2-40B4-BE49-F238E27FC236}">
                <a16:creationId xmlns:a16="http://schemas.microsoft.com/office/drawing/2014/main" id="{6213B5AF-A432-48C8-9EDA-ABDCE79B0AE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44119" y="3663874"/>
            <a:ext cx="1486048" cy="2095131"/>
          </a:xfrm>
          <a:prstGeom prst="rect">
            <a:avLst/>
          </a:prstGeom>
          <a:effectLst>
            <a:outerShdw blurRad="304800" dist="101600" dir="2700000" algn="tl" rotWithShape="0">
              <a:srgbClr val="000000">
                <a:alpha val="43137"/>
              </a:srgbClr>
            </a:outerShdw>
          </a:effectLst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D9C269DF-E0CA-413A-B5DC-FA79BAFC3D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76066" y="2692656"/>
            <a:ext cx="1593883" cy="2041664"/>
          </a:xfrm>
          <a:prstGeom prst="rect">
            <a:avLst/>
          </a:prstGeom>
          <a:ln>
            <a:noFill/>
          </a:ln>
          <a:effectLst>
            <a:outerShdw blurRad="304800" dist="101600" dir="2700000" algn="tl" rotWithShape="0">
              <a:srgbClr val="000000">
                <a:alpha val="43137"/>
              </a:srgbClr>
            </a:outerShdw>
          </a:effectLst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E2E732DD-9D85-40F6-AE31-6CCB96C9993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99343" y="3263367"/>
            <a:ext cx="1666777" cy="2163144"/>
          </a:xfrm>
          <a:prstGeom prst="rect">
            <a:avLst/>
          </a:prstGeom>
          <a:effectLst>
            <a:outerShdw blurRad="304800" dist="101600" dir="2700000" algn="tl" rotWithShape="0">
              <a:srgbClr val="000000">
                <a:alpha val="43137"/>
              </a:srgbClr>
            </a:outerShdw>
          </a:effectLst>
        </p:spPr>
      </p:pic>
      <p:sp>
        <p:nvSpPr>
          <p:cNvPr id="96" name="Text Placeholder 4">
            <a:extLst>
              <a:ext uri="{FF2B5EF4-FFF2-40B4-BE49-F238E27FC236}">
                <a16:creationId xmlns:a16="http://schemas.microsoft.com/office/drawing/2014/main" id="{49F2F5E2-CAD1-4C32-953F-F6F58E0644F8}"/>
              </a:ext>
            </a:extLst>
          </p:cNvPr>
          <p:cNvSpPr txBox="1">
            <a:spLocks/>
          </p:cNvSpPr>
          <p:nvPr/>
        </p:nvSpPr>
        <p:spPr>
          <a:xfrm>
            <a:off x="525547" y="953388"/>
            <a:ext cx="11443296" cy="869812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12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12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12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Comprehensive clinic </a:t>
            </a:r>
            <a:r>
              <a:rPr lang="en-US" sz="2000">
                <a:solidFill>
                  <a:schemeClr val="accent1"/>
                </a:solidFill>
                <a:latin typeface="Franklin Gothic Book" panose="020B0503020102020204" pitchFamily="34" charset="0"/>
              </a:rPr>
              <a:t>k</a:t>
            </a:r>
            <a:r>
              <a:rPr lang="en-US" sz="2000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it to help protect patients against flu with alternative immunization </a:t>
            </a:r>
            <a:r>
              <a:rPr lang="en-US" sz="2000">
                <a:solidFill>
                  <a:schemeClr val="accent1"/>
                </a:solidFill>
                <a:latin typeface="Franklin Gothic Book" panose="020B0503020102020204" pitchFamily="34" charset="0"/>
              </a:rPr>
              <a:t>a</a:t>
            </a:r>
            <a:r>
              <a:rPr lang="en-US" sz="2000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pproach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8BFF382-2F4F-4283-AE3A-97CACB6AF84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654296" y="2883326"/>
            <a:ext cx="1607777" cy="2081133"/>
          </a:xfrm>
          <a:prstGeom prst="rect">
            <a:avLst/>
          </a:prstGeom>
          <a:effectLst>
            <a:outerShdw blurRad="190500" dist="762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8" name="Rectangle: Diagonal Corners Rounded 37">
            <a:extLst>
              <a:ext uri="{FF2B5EF4-FFF2-40B4-BE49-F238E27FC236}">
                <a16:creationId xmlns:a16="http://schemas.microsoft.com/office/drawing/2014/main" id="{BD13479D-C79E-4450-B601-7CF887F00743}"/>
              </a:ext>
            </a:extLst>
          </p:cNvPr>
          <p:cNvSpPr/>
          <p:nvPr/>
        </p:nvSpPr>
        <p:spPr>
          <a:xfrm>
            <a:off x="4731968" y="1540359"/>
            <a:ext cx="5826051" cy="438912"/>
          </a:xfrm>
          <a:prstGeom prst="round2DiagRect">
            <a:avLst>
              <a:gd name="adj1" fmla="val 0"/>
              <a:gd name="adj2" fmla="val 13614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accent1"/>
                </a:solidFill>
                <a:latin typeface="Franklin Gothic Demi Cond" panose="020B0706030402020204" pitchFamily="34" charset="0"/>
              </a:rPr>
              <a:t>Planning &amp; Coadministration Resourc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719B39B-DE04-421C-95A1-F518F7A8B09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331984" y="3228436"/>
            <a:ext cx="1666503" cy="2090418"/>
          </a:xfrm>
          <a:prstGeom prst="rect">
            <a:avLst/>
          </a:prstGeom>
          <a:effectLst>
            <a:outerShdw blurRad="1905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CB1BC79-E73E-40B3-B5CB-DF677BFF047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46143" y="3603627"/>
            <a:ext cx="1685569" cy="2159900"/>
          </a:xfrm>
          <a:prstGeom prst="rect">
            <a:avLst/>
          </a:prstGeom>
          <a:effectLst>
            <a:outerShdw blurRad="190500" dist="762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Footer Placeholder 1">
            <a:extLst>
              <a:ext uri="{FF2B5EF4-FFF2-40B4-BE49-F238E27FC236}">
                <a16:creationId xmlns:a16="http://schemas.microsoft.com/office/drawing/2014/main" id="{2BBC2569-EF7D-477B-81DF-9FB225A78B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285383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Text Placeholder 4">
            <a:extLst>
              <a:ext uri="{FF2B5EF4-FFF2-40B4-BE49-F238E27FC236}">
                <a16:creationId xmlns:a16="http://schemas.microsoft.com/office/drawing/2014/main" id="{BE3C477E-7529-432F-AA8B-91C0DEF460FA}"/>
              </a:ext>
            </a:extLst>
          </p:cNvPr>
          <p:cNvSpPr txBox="1">
            <a:spLocks/>
          </p:cNvSpPr>
          <p:nvPr/>
        </p:nvSpPr>
        <p:spPr>
          <a:xfrm>
            <a:off x="525547" y="1655622"/>
            <a:ext cx="11312667" cy="334328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 dirty="0" err="1">
                <a:solidFill>
                  <a:schemeClr val="accent1"/>
                </a:solidFill>
                <a:effectLst/>
                <a:latin typeface="Franklin Gothic Book"/>
                <a:ea typeface="Verdana"/>
              </a:rPr>
              <a:t>WellConnect</a:t>
            </a:r>
            <a:r>
              <a:rPr lang="en-US" sz="2000" dirty="0">
                <a:solidFill>
                  <a:schemeClr val="accent1"/>
                </a:solidFill>
                <a:effectLst/>
                <a:latin typeface="Franklin Gothic Book"/>
                <a:ea typeface="Verdana"/>
              </a:rPr>
              <a:t> allows you to reach out to your patients efficiently.</a:t>
            </a:r>
            <a:r>
              <a:rPr lang="en-US" sz="2000" dirty="0">
                <a:solidFill>
                  <a:schemeClr val="accent1"/>
                </a:solidFill>
                <a:latin typeface="Franklin Gothic Book"/>
                <a:ea typeface="Verdana"/>
              </a:rPr>
              <a:t> </a:t>
            </a:r>
            <a:r>
              <a:rPr lang="en-US" sz="2000" dirty="0">
                <a:solidFill>
                  <a:schemeClr val="accent1"/>
                </a:solidFill>
                <a:effectLst/>
                <a:latin typeface="Franklin Gothic Book"/>
                <a:ea typeface="Verdana"/>
              </a:rPr>
              <a:t> With one call or text, you can send important health and vaccine information to thousands of patients at once.</a:t>
            </a:r>
          </a:p>
          <a:p>
            <a:pPr algn="l">
              <a:lnSpc>
                <a:spcPct val="100000"/>
              </a:lnSpc>
            </a:pPr>
            <a:endParaRPr lang="en-US" sz="2000" i="0" dirty="0">
              <a:solidFill>
                <a:schemeClr val="accent1"/>
              </a:solidFill>
              <a:effectLst/>
              <a:latin typeface="Franklin Gothic Book" panose="020B0503020102020204" pitchFamily="34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i="0" dirty="0">
                <a:solidFill>
                  <a:schemeClr val="accent1"/>
                </a:solidFill>
                <a:effectLst/>
                <a:latin typeface="Franklin Gothic Book"/>
                <a:ea typeface="Verdana"/>
              </a:rPr>
              <a:t>An easy-to-use tool that can support providers in educating </a:t>
            </a:r>
            <a:r>
              <a:rPr lang="en-US" sz="2000" dirty="0">
                <a:solidFill>
                  <a:schemeClr val="accent1"/>
                </a:solidFill>
                <a:latin typeface="Franklin Gothic Book"/>
                <a:ea typeface="Verdana"/>
              </a:rPr>
              <a:t>patients</a:t>
            </a:r>
            <a:r>
              <a:rPr lang="en-US" sz="2000" i="0" dirty="0">
                <a:solidFill>
                  <a:schemeClr val="accent1"/>
                </a:solidFill>
                <a:effectLst/>
                <a:latin typeface="Franklin Gothic Book"/>
                <a:ea typeface="Verdana"/>
              </a:rPr>
              <a:t> about the importance of flu immunizations through unbranded messages.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000" i="0" dirty="0">
              <a:solidFill>
                <a:schemeClr val="accent1"/>
              </a:solidFill>
              <a:effectLst/>
              <a:latin typeface="Franklin Gothic Book" panose="020B0503020102020204" pitchFamily="34" charset="0"/>
            </a:endParaRPr>
          </a:p>
          <a:p>
            <a:pPr marL="302260" lvl="1" indent="0">
              <a:lnSpc>
                <a:spcPct val="100000"/>
              </a:lnSpc>
              <a:buNone/>
            </a:pPr>
            <a:endParaRPr lang="en-US" sz="2000" i="0" dirty="0">
              <a:solidFill>
                <a:schemeClr val="accent1"/>
              </a:solidFill>
              <a:effectLst/>
              <a:latin typeface="Franklin Gothic Book" panose="020B0503020102020204" pitchFamily="34" charset="0"/>
            </a:endParaRPr>
          </a:p>
          <a:p>
            <a:pPr marL="302260" lvl="1" indent="0">
              <a:lnSpc>
                <a:spcPct val="100000"/>
              </a:lnSpc>
              <a:buNone/>
            </a:pPr>
            <a:endParaRPr lang="en-US" sz="2000" dirty="0">
              <a:solidFill>
                <a:schemeClr val="accent1"/>
              </a:solidFill>
              <a:latin typeface="Franklin Gothic Book" panose="020B0503020102020204" pitchFamily="34" charset="0"/>
            </a:endParaRPr>
          </a:p>
          <a:p>
            <a:pPr marL="302260" lvl="1" indent="0">
              <a:lnSpc>
                <a:spcPct val="100000"/>
              </a:lnSpc>
              <a:buNone/>
            </a:pPr>
            <a:endParaRPr lang="en-US" sz="2000" i="0" dirty="0">
              <a:solidFill>
                <a:schemeClr val="accent1"/>
              </a:solidFill>
              <a:effectLst/>
              <a:latin typeface="Franklin Gothic Book" panose="020B0503020102020204" pitchFamily="34" charset="0"/>
            </a:endParaRPr>
          </a:p>
          <a:p>
            <a:pPr marL="302260" lvl="1" indent="0">
              <a:lnSpc>
                <a:spcPct val="100000"/>
              </a:lnSpc>
              <a:buNone/>
            </a:pPr>
            <a:endParaRPr lang="en-US" sz="2000" dirty="0">
              <a:solidFill>
                <a:schemeClr val="accent1"/>
              </a:solidFill>
              <a:latin typeface="Franklin Gothic Book" panose="020B0503020102020204" pitchFamily="34" charset="0"/>
            </a:endParaRPr>
          </a:p>
          <a:p>
            <a:pPr marL="302260" lvl="1" indent="0">
              <a:lnSpc>
                <a:spcPct val="100000"/>
              </a:lnSpc>
              <a:buNone/>
            </a:pPr>
            <a:endParaRPr lang="en-US" sz="2000" i="0" dirty="0">
              <a:solidFill>
                <a:schemeClr val="accent1"/>
              </a:solidFill>
              <a:effectLst/>
              <a:latin typeface="Franklin Gothic Book" panose="020B0503020102020204" pitchFamily="34" charset="0"/>
            </a:endParaRP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i="0" dirty="0">
                <a:solidFill>
                  <a:schemeClr val="accent1"/>
                </a:solidFill>
                <a:effectLst/>
                <a:latin typeface="Franklin Gothic Book"/>
                <a:ea typeface="Verdana"/>
              </a:rPr>
              <a:t>Providers have the option to send templated and unbranded messages at no cost to them* or pay for customized messages to send to their patients </a:t>
            </a:r>
            <a:r>
              <a:rPr lang="en-US" sz="2000" b="1" i="0" dirty="0">
                <a:solidFill>
                  <a:schemeClr val="accent1"/>
                </a:solidFill>
                <a:effectLst/>
                <a:latin typeface="Franklin Gothic Book"/>
                <a:ea typeface="Verdana"/>
              </a:rPr>
              <a:t>(through Text-</a:t>
            </a:r>
            <a:r>
              <a:rPr lang="en-US" sz="2000" b="1" i="0" dirty="0" err="1">
                <a:solidFill>
                  <a:schemeClr val="accent1"/>
                </a:solidFill>
                <a:effectLst/>
                <a:latin typeface="Franklin Gothic Book"/>
                <a:ea typeface="Verdana"/>
              </a:rPr>
              <a:t>Em</a:t>
            </a:r>
            <a:r>
              <a:rPr lang="en-US" sz="2000" b="1" i="0" dirty="0">
                <a:solidFill>
                  <a:schemeClr val="accent1"/>
                </a:solidFill>
                <a:effectLst/>
                <a:latin typeface="Franklin Gothic Book"/>
                <a:ea typeface="Verdana"/>
              </a:rPr>
              <a:t>-All directly).</a:t>
            </a:r>
            <a:r>
              <a:rPr lang="en-US" sz="2000" b="1" dirty="0">
                <a:solidFill>
                  <a:schemeClr val="accent1"/>
                </a:solidFill>
                <a:latin typeface="Franklin Gothic Book"/>
                <a:ea typeface="Verdana"/>
              </a:rPr>
              <a:t> </a:t>
            </a:r>
            <a:endParaRPr lang="en-US" sz="2000" b="1" i="0" dirty="0">
              <a:solidFill>
                <a:schemeClr val="accent1"/>
              </a:solidFill>
              <a:effectLst/>
              <a:latin typeface="Franklin Gothic Book" panose="020B0503020102020204" pitchFamily="34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accent1"/>
              </a:solidFill>
              <a:latin typeface="Franklin Gothic Book" panose="020B0503020102020204" pitchFamily="34" charset="0"/>
            </a:endParaRPr>
          </a:p>
          <a:p>
            <a:pPr algn="l"/>
            <a:endParaRPr lang="en-US" sz="2000" i="0" dirty="0">
              <a:solidFill>
                <a:schemeClr val="accent1"/>
              </a:solidFill>
              <a:effectLst/>
              <a:latin typeface="Franklin Gothic Book" panose="020B0503020102020204" pitchFamily="34" charset="0"/>
            </a:endParaRPr>
          </a:p>
          <a:p>
            <a:pPr algn="l"/>
            <a:endParaRPr lang="en-US" sz="2000" dirty="0">
              <a:solidFill>
                <a:schemeClr val="accent1"/>
              </a:solidFill>
              <a:latin typeface="Franklin Gothic Book" panose="020B0503020102020204" pitchFamily="34" charset="0"/>
            </a:endParaRPr>
          </a:p>
          <a:p>
            <a:pPr algn="l"/>
            <a:endParaRPr lang="en-US" sz="2000" i="0" dirty="0">
              <a:solidFill>
                <a:schemeClr val="accent1"/>
              </a:solidFill>
              <a:effectLst/>
              <a:latin typeface="Franklin Gothic Book" panose="020B0503020102020204" pitchFamily="34" charset="0"/>
            </a:endParaRP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2E78C5A7-B2AC-457A-BDA0-39131C9E2384}"/>
              </a:ext>
            </a:extLst>
          </p:cNvPr>
          <p:cNvSpPr/>
          <p:nvPr/>
        </p:nvSpPr>
        <p:spPr>
          <a:xfrm>
            <a:off x="1094013" y="3327263"/>
            <a:ext cx="6988631" cy="1543050"/>
          </a:xfrm>
          <a:prstGeom prst="round2Diag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52485" lvl="2" indent="-342900">
              <a:lnSpc>
                <a:spcPct val="100000"/>
              </a:lnSpc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US" sz="1800">
                <a:solidFill>
                  <a:schemeClr val="tx1"/>
                </a:solidFill>
                <a:effectLst/>
                <a:latin typeface="Franklin Gothic Book" panose="020B0503020102020204" pitchFamily="34" charset="0"/>
              </a:rPr>
              <a:t>Help increase patient visits and immunizations</a:t>
            </a:r>
          </a:p>
          <a:p>
            <a:pPr marL="952485" lvl="2" indent="-342900">
              <a:lnSpc>
                <a:spcPct val="100000"/>
              </a:lnSpc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US" sz="1800">
                <a:solidFill>
                  <a:schemeClr val="tx1"/>
                </a:solidFill>
                <a:effectLst/>
                <a:latin typeface="Franklin Gothic Book" panose="020B0503020102020204" pitchFamily="34" charset="0"/>
              </a:rPr>
              <a:t>Assist your office with improving overall patient health</a:t>
            </a:r>
          </a:p>
          <a:p>
            <a:pPr marL="952485" lvl="2" indent="-342900">
              <a:lnSpc>
                <a:spcPct val="100000"/>
              </a:lnSpc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US" sz="1800">
                <a:solidFill>
                  <a:schemeClr val="tx1"/>
                </a:solidFill>
                <a:effectLst/>
                <a:latin typeface="Franklin Gothic Book" panose="020B0503020102020204" pitchFamily="34" charset="0"/>
              </a:rPr>
              <a:t>Save time and make your office more efficient</a:t>
            </a:r>
          </a:p>
          <a:p>
            <a:pPr marL="952485" lvl="2" indent="-342900">
              <a:lnSpc>
                <a:spcPct val="100000"/>
              </a:lnSpc>
              <a:buClr>
                <a:schemeClr val="accent2"/>
              </a:buClr>
              <a:buFont typeface="Wingdings" panose="05000000000000000000" pitchFamily="2" charset="2"/>
              <a:buChar char="ü"/>
            </a:pPr>
            <a:r>
              <a:rPr lang="en-US" sz="1800">
                <a:solidFill>
                  <a:schemeClr val="tx1"/>
                </a:solidFill>
                <a:effectLst/>
                <a:latin typeface="Franklin Gothic Book" panose="020B0503020102020204" pitchFamily="34" charset="0"/>
              </a:rPr>
              <a:t>Be more cost-effective and grow your practi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4" y="594287"/>
            <a:ext cx="11152334" cy="654470"/>
          </a:xfrm>
        </p:spPr>
        <p:txBody>
          <a:bodyPr vert="horz">
            <a:noAutofit/>
          </a:bodyPr>
          <a:lstStyle/>
          <a:p>
            <a:r>
              <a:rPr lang="en-US" sz="2800" err="1">
                <a:solidFill>
                  <a:schemeClr val="accent2"/>
                </a:solidFill>
                <a:latin typeface="Franklin Gothic Book" panose="020B0503020102020204" pitchFamily="34" charset="0"/>
              </a:rPr>
              <a:t>WellConnect</a:t>
            </a:r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 Available to Support Patient Reminder Recal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D5435FFD-9996-474B-BF53-ED19A78A8B5F}"/>
              </a:ext>
            </a:extLst>
          </p:cNvPr>
          <p:cNvSpPr txBox="1">
            <a:spLocks/>
          </p:cNvSpPr>
          <p:nvPr/>
        </p:nvSpPr>
        <p:spPr>
          <a:xfrm>
            <a:off x="452859" y="1313058"/>
            <a:ext cx="10843038" cy="4771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66688" indent="-166688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charset="0"/>
              <a:buChar char="•"/>
              <a:tabLst>
                <a:tab pos="8459788" algn="r"/>
              </a:tabLst>
              <a:defRPr sz="1800" b="0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0038" indent="-13335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Font typeface="Arial" charset="0"/>
              <a:buChar char="•"/>
              <a:tabLst>
                <a:tab pos="8460000" algn="r"/>
              </a:tabLst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1462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None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b="1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18" name="Picture 17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4F9E56F-8876-4C66-ACED-A231466819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582" y="450587"/>
            <a:ext cx="2426039" cy="95263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D359A46-3471-4114-BD8D-63E7B41D6425}"/>
              </a:ext>
            </a:extLst>
          </p:cNvPr>
          <p:cNvSpPr txBox="1"/>
          <p:nvPr/>
        </p:nvSpPr>
        <p:spPr>
          <a:xfrm>
            <a:off x="452859" y="5906313"/>
            <a:ext cx="4106038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088"/>
            <a:r>
              <a:rPr lang="en-US" sz="1600" spc="-30">
                <a:solidFill>
                  <a:srgbClr val="6B747B">
                    <a:lumMod val="50000"/>
                  </a:srgbClr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Aparajita" panose="020B0604020202020204" pitchFamily="34" charset="0"/>
              </a:rPr>
              <a:t>*</a:t>
            </a:r>
            <a:r>
              <a:rPr lang="en-US" sz="1400" spc="-30">
                <a:solidFill>
                  <a:srgbClr val="6B747B">
                    <a:lumMod val="50000"/>
                  </a:srgbClr>
                </a:solidFill>
                <a:latin typeface="+mj-lt"/>
                <a:ea typeface="Verdana" panose="020B0604030504040204" pitchFamily="34" charset="0"/>
                <a:cs typeface="Aparajita" panose="020B0604020202020204" pitchFamily="34" charset="0"/>
              </a:rPr>
              <a:t> </a:t>
            </a:r>
            <a:r>
              <a:rPr lang="en-US" sz="1050" spc="-30">
                <a:latin typeface="+mj-lt"/>
                <a:ea typeface="Verdana" panose="020B0604030504040204" pitchFamily="34" charset="0"/>
                <a:cs typeface="Aparajita" panose="020B0604020202020204" pitchFamily="34" charset="0"/>
              </a:rPr>
              <a:t>Subject to program cap established by Sanofi</a:t>
            </a:r>
            <a:endParaRPr lang="en-US" sz="1100" spc="-30">
              <a:latin typeface="Franklin Gothic Book" panose="020B0503020102020204" pitchFamily="34" charset="0"/>
              <a:ea typeface="Verdana" panose="020B0604030504040204" pitchFamily="34" charset="0"/>
              <a:cs typeface="Aparajita" panose="020B0604020202020204" pitchFamily="34" charset="0"/>
            </a:endParaRPr>
          </a:p>
          <a:p>
            <a:pPr defTabSz="914088"/>
            <a:endParaRPr lang="en-US" sz="900" spc="-30">
              <a:solidFill>
                <a:srgbClr val="6B747B">
                  <a:lumMod val="50000"/>
                </a:srgbClr>
              </a:solidFill>
              <a:ea typeface="Verdana" panose="020B0604030504040204" pitchFamily="34" charset="0"/>
              <a:cs typeface="Aparajita" panose="020B06040202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A25FF15-DC9E-4155-BC49-D0A65D51E513}"/>
              </a:ext>
            </a:extLst>
          </p:cNvPr>
          <p:cNvSpPr txBox="1">
            <a:spLocks/>
          </p:cNvSpPr>
          <p:nvPr/>
        </p:nvSpPr>
        <p:spPr>
          <a:xfrm>
            <a:off x="525547" y="953388"/>
            <a:ext cx="11140904" cy="869812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b="1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Reach all your patients with just one call or tex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D670A09-C0DE-419A-9DBC-174A8E67ABB3}"/>
              </a:ext>
            </a:extLst>
          </p:cNvPr>
          <p:cNvCxnSpPr>
            <a:cxnSpLocks/>
          </p:cNvCxnSpPr>
          <p:nvPr/>
        </p:nvCxnSpPr>
        <p:spPr>
          <a:xfrm>
            <a:off x="525547" y="2415037"/>
            <a:ext cx="10987943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9279CB8A-F84D-4C1E-852E-241237C3C8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42763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01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4" y="594287"/>
            <a:ext cx="11152334" cy="654470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Easily Navigate the Process for </a:t>
            </a:r>
            <a:r>
              <a:rPr lang="en-US" sz="2800" err="1">
                <a:solidFill>
                  <a:schemeClr val="accent2"/>
                </a:solidFill>
                <a:latin typeface="Franklin Gothic Book" panose="020B0503020102020204" pitchFamily="34" charset="0"/>
              </a:rPr>
              <a:t>WellConnect</a:t>
            </a:r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D5435FFD-9996-474B-BF53-ED19A78A8B5F}"/>
              </a:ext>
            </a:extLst>
          </p:cNvPr>
          <p:cNvSpPr txBox="1">
            <a:spLocks/>
          </p:cNvSpPr>
          <p:nvPr/>
        </p:nvSpPr>
        <p:spPr>
          <a:xfrm>
            <a:off x="452859" y="1313058"/>
            <a:ext cx="10843038" cy="4771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66688" indent="-166688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charset="0"/>
              <a:buChar char="•"/>
              <a:tabLst>
                <a:tab pos="8459788" algn="r"/>
              </a:tabLst>
              <a:defRPr sz="1800" b="0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0038" indent="-13335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Font typeface="Arial" charset="0"/>
              <a:buChar char="•"/>
              <a:tabLst>
                <a:tab pos="8460000" algn="r"/>
              </a:tabLst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1462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None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b="1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A25FF15-DC9E-4155-BC49-D0A65D51E513}"/>
              </a:ext>
            </a:extLst>
          </p:cNvPr>
          <p:cNvSpPr txBox="1">
            <a:spLocks/>
          </p:cNvSpPr>
          <p:nvPr/>
        </p:nvSpPr>
        <p:spPr>
          <a:xfrm>
            <a:off x="525547" y="953388"/>
            <a:ext cx="11140904" cy="869812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b="1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Reach all your patients with just one call or text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A39F309-655E-4A66-8ED7-2D5892A4387A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70000"/>
          </a:blip>
          <a:stretch>
            <a:fillRect/>
          </a:stretch>
        </p:blipFill>
        <p:spPr>
          <a:xfrm>
            <a:off x="597634" y="1506419"/>
            <a:ext cx="2677552" cy="141578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F619CF4-ED7D-4163-AACC-1A6E8B359582}"/>
              </a:ext>
            </a:extLst>
          </p:cNvPr>
          <p:cNvSpPr txBox="1"/>
          <p:nvPr/>
        </p:nvSpPr>
        <p:spPr>
          <a:xfrm>
            <a:off x="3463574" y="1855575"/>
            <a:ext cx="5012516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>
              <a:buClr>
                <a:srgbClr val="CA99F5">
                  <a:lumMod val="75000"/>
                </a:srgbClr>
              </a:buClr>
              <a:buSzPct val="110000"/>
              <a:defRPr/>
            </a:pPr>
            <a:r>
              <a:rPr lang="en-US">
                <a:solidFill>
                  <a:prstClr val="black"/>
                </a:solidFill>
                <a:latin typeface="Franklin Gothic Book" panose="020B0503020102020204" pitchFamily="34" charset="0"/>
              </a:rPr>
              <a:t>Customers with a VaccineShoppe account can sign up for </a:t>
            </a:r>
            <a:r>
              <a:rPr lang="en-US" err="1">
                <a:solidFill>
                  <a:prstClr val="black"/>
                </a:solidFill>
                <a:latin typeface="Franklin Gothic Book" panose="020B0503020102020204" pitchFamily="34" charset="0"/>
              </a:rPr>
              <a:t>WellConnect</a:t>
            </a:r>
            <a:r>
              <a:rPr lang="en-US">
                <a:solidFill>
                  <a:prstClr val="black"/>
                </a:solidFill>
                <a:latin typeface="Franklin Gothic Book" panose="020B0503020102020204" pitchFamily="34" charset="0"/>
              </a:rPr>
              <a:t> via VaccineShoppe.com</a:t>
            </a:r>
          </a:p>
          <a:p>
            <a:pPr marL="342900" indent="-342900" defTabSz="609585">
              <a:buClr>
                <a:srgbClr val="CA99F5">
                  <a:lumMod val="75000"/>
                </a:srgbClr>
              </a:buClr>
              <a:buSzPct val="110000"/>
              <a:buFont typeface="+mj-lt"/>
              <a:buAutoNum type="arabicPeriod"/>
              <a:defRPr/>
            </a:pPr>
            <a:endParaRPr lang="en-US">
              <a:solidFill>
                <a:prstClr val="black"/>
              </a:solidFill>
              <a:latin typeface="Franklin Gothic Book" panose="020B0503020102020204" pitchFamily="34" charset="0"/>
            </a:endParaRPr>
          </a:p>
          <a:p>
            <a:pPr marL="342900" indent="-342900" defTabSz="609585">
              <a:buClr>
                <a:srgbClr val="CA99F5">
                  <a:lumMod val="75000"/>
                </a:srgbClr>
              </a:buClr>
              <a:buSzPct val="110000"/>
              <a:buFont typeface="+mj-lt"/>
              <a:buAutoNum type="arabicPeriod"/>
              <a:defRPr/>
            </a:pPr>
            <a:endParaRPr lang="en-US">
              <a:solidFill>
                <a:prstClr val="black"/>
              </a:solidFill>
              <a:latin typeface="Franklin Gothic Book" panose="020B0503020102020204" pitchFamily="34" charset="0"/>
            </a:endParaRPr>
          </a:p>
          <a:p>
            <a:pPr marL="342900" indent="-342900" defTabSz="609585">
              <a:buClr>
                <a:srgbClr val="CA99F5">
                  <a:lumMod val="75000"/>
                </a:srgbClr>
              </a:buClr>
              <a:buSzPct val="110000"/>
              <a:buFont typeface="+mj-lt"/>
              <a:buAutoNum type="arabicPeriod"/>
              <a:defRPr/>
            </a:pPr>
            <a:endParaRPr lang="en-US">
              <a:solidFill>
                <a:prstClr val="black"/>
              </a:solidFill>
              <a:latin typeface="Franklin Gothic Book" panose="020B0503020102020204" pitchFamily="34" charset="0"/>
            </a:endParaRPr>
          </a:p>
          <a:p>
            <a:pPr marL="342900" indent="-342900" defTabSz="609585">
              <a:buClr>
                <a:srgbClr val="CA99F5">
                  <a:lumMod val="75000"/>
                </a:srgbClr>
              </a:buClr>
              <a:buSzPct val="110000"/>
              <a:buFont typeface="+mj-lt"/>
              <a:buAutoNum type="arabicPeriod"/>
              <a:defRPr/>
            </a:pPr>
            <a:endParaRPr lang="en-US">
              <a:solidFill>
                <a:prstClr val="black"/>
              </a:solidFill>
              <a:latin typeface="Franklin Gothic Book" panose="020B0503020102020204" pitchFamily="34" charset="0"/>
            </a:endParaRPr>
          </a:p>
          <a:p>
            <a:pPr defTabSz="609585">
              <a:buClr>
                <a:srgbClr val="CA99F5">
                  <a:lumMod val="75000"/>
                </a:srgbClr>
              </a:buClr>
              <a:buSzPct val="110000"/>
              <a:defRPr/>
            </a:pPr>
            <a:r>
              <a:rPr lang="en-US">
                <a:solidFill>
                  <a:prstClr val="black"/>
                </a:solidFill>
                <a:latin typeface="Franklin Gothic Book" panose="020B0503020102020204" pitchFamily="34" charset="0"/>
              </a:rPr>
              <a:t>Customers are redirected to vendor site to create a </a:t>
            </a:r>
            <a:r>
              <a:rPr lang="en-US" err="1">
                <a:solidFill>
                  <a:prstClr val="black"/>
                </a:solidFill>
                <a:latin typeface="Franklin Gothic Book" panose="020B0503020102020204" pitchFamily="34" charset="0"/>
              </a:rPr>
              <a:t>WellConnect</a:t>
            </a:r>
            <a:r>
              <a:rPr lang="en-US">
                <a:solidFill>
                  <a:prstClr val="black"/>
                </a:solidFill>
                <a:latin typeface="Franklin Gothic Book" panose="020B0503020102020204" pitchFamily="34" charset="0"/>
              </a:rPr>
              <a:t> account</a:t>
            </a:r>
          </a:p>
          <a:p>
            <a:pPr marL="342900" indent="-342900" defTabSz="609585">
              <a:buClr>
                <a:srgbClr val="CA99F5">
                  <a:lumMod val="75000"/>
                </a:srgbClr>
              </a:buClr>
              <a:buSzPct val="110000"/>
              <a:buFont typeface="+mj-lt"/>
              <a:buAutoNum type="arabicPeriod"/>
              <a:defRPr/>
            </a:pPr>
            <a:endParaRPr lang="en-US">
              <a:solidFill>
                <a:prstClr val="black"/>
              </a:solidFill>
              <a:latin typeface="Franklin Gothic Book" panose="020B0503020102020204" pitchFamily="34" charset="0"/>
            </a:endParaRPr>
          </a:p>
          <a:p>
            <a:pPr marL="342900" indent="-342900" defTabSz="609585">
              <a:buClr>
                <a:srgbClr val="CA99F5">
                  <a:lumMod val="75000"/>
                </a:srgbClr>
              </a:buClr>
              <a:buSzPct val="110000"/>
              <a:buFont typeface="+mj-lt"/>
              <a:buAutoNum type="arabicPeriod"/>
              <a:defRPr/>
            </a:pPr>
            <a:endParaRPr lang="en-US">
              <a:solidFill>
                <a:prstClr val="black"/>
              </a:solidFill>
              <a:latin typeface="Franklin Gothic Book" panose="020B0503020102020204" pitchFamily="34" charset="0"/>
            </a:endParaRPr>
          </a:p>
          <a:p>
            <a:pPr defTabSz="609585">
              <a:buClr>
                <a:srgbClr val="CA99F5">
                  <a:lumMod val="75000"/>
                </a:srgbClr>
              </a:buClr>
              <a:buSzPct val="110000"/>
              <a:defRPr/>
            </a:pPr>
            <a:endParaRPr lang="en-US">
              <a:solidFill>
                <a:prstClr val="black"/>
              </a:solidFill>
              <a:latin typeface="Franklin Gothic Book" panose="020B0503020102020204" pitchFamily="34" charset="0"/>
            </a:endParaRPr>
          </a:p>
          <a:p>
            <a:pPr marL="342900" indent="-342900" defTabSz="609585">
              <a:buClr>
                <a:srgbClr val="CA99F5">
                  <a:lumMod val="75000"/>
                </a:srgbClr>
              </a:buClr>
              <a:buSzPct val="110000"/>
              <a:buFont typeface="+mj-lt"/>
              <a:buAutoNum type="arabicPeriod"/>
              <a:defRPr/>
            </a:pPr>
            <a:endParaRPr lang="en-US">
              <a:solidFill>
                <a:prstClr val="black"/>
              </a:solidFill>
              <a:latin typeface="Franklin Gothic Book" panose="020B0503020102020204" pitchFamily="34" charset="0"/>
            </a:endParaRPr>
          </a:p>
          <a:p>
            <a:pPr defTabSz="609585">
              <a:buClr>
                <a:srgbClr val="CA99F5">
                  <a:lumMod val="75000"/>
                </a:srgbClr>
              </a:buClr>
              <a:buSzPct val="110000"/>
              <a:defRPr/>
            </a:pPr>
            <a:r>
              <a:rPr lang="en-US">
                <a:latin typeface="Franklin Gothic Book" panose="020B0503020102020204" pitchFamily="34" charset="0"/>
              </a:rPr>
              <a:t>Customers use vendor site to manage and deploy messages directly to their patients</a:t>
            </a:r>
          </a:p>
          <a:p>
            <a:pPr marL="342900" indent="-342900" defTabSz="609585">
              <a:buClr>
                <a:srgbClr val="CA99F5">
                  <a:lumMod val="75000"/>
                </a:srgbClr>
              </a:buClr>
              <a:buFont typeface="+mj-lt"/>
              <a:buAutoNum type="arabicPeriod"/>
              <a:defRPr/>
            </a:pPr>
            <a:endParaRPr lang="en-US" sz="1400">
              <a:solidFill>
                <a:prstClr val="black"/>
              </a:solidFill>
              <a:latin typeface="Franklin Gothic Book" panose="020B0503020102020204" pitchFamily="34" charset="0"/>
            </a:endParaRPr>
          </a:p>
          <a:p>
            <a:pPr marL="342900" indent="-342900" defTabSz="609585">
              <a:buClr>
                <a:srgbClr val="CA99F5">
                  <a:lumMod val="75000"/>
                </a:srgbClr>
              </a:buClr>
              <a:buFont typeface="+mj-lt"/>
              <a:buAutoNum type="arabicPeriod"/>
              <a:defRPr/>
            </a:pPr>
            <a:endParaRPr lang="en-US" sz="1400">
              <a:solidFill>
                <a:prstClr val="black"/>
              </a:solidFill>
              <a:latin typeface="Franklin Gothic Book" panose="020B0503020102020204" pitchFamily="34" charset="0"/>
            </a:endParaRPr>
          </a:p>
          <a:p>
            <a:pPr marL="342900" indent="-342900" defTabSz="609585">
              <a:buClr>
                <a:srgbClr val="CA99F5">
                  <a:lumMod val="75000"/>
                </a:srgbClr>
              </a:buClr>
              <a:buFont typeface="+mj-lt"/>
              <a:buAutoNum type="arabicPeriod"/>
              <a:defRPr/>
            </a:pPr>
            <a:endParaRPr lang="en-US" sz="1400">
              <a:solidFill>
                <a:prstClr val="black"/>
              </a:solidFill>
              <a:latin typeface="Franklin Gothic Book" panose="020B0503020102020204" pitchFamily="34" charset="0"/>
            </a:endParaRPr>
          </a:p>
          <a:p>
            <a:pPr defTabSz="609585">
              <a:buClr>
                <a:srgbClr val="CA99F5">
                  <a:lumMod val="75000"/>
                </a:srgbClr>
              </a:buClr>
              <a:defRPr/>
            </a:pPr>
            <a:endParaRPr lang="en-US" sz="1400">
              <a:solidFill>
                <a:prstClr val="black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44C4DF-38D0-4342-9ADA-892DCCFA3B3E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70000"/>
          </a:blip>
          <a:stretch>
            <a:fillRect/>
          </a:stretch>
        </p:blipFill>
        <p:spPr>
          <a:xfrm>
            <a:off x="597634" y="2968138"/>
            <a:ext cx="2677552" cy="157099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1484915-4273-417C-AF3C-73AC9439C8C0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70000"/>
          </a:blip>
          <a:stretch>
            <a:fillRect/>
          </a:stretch>
        </p:blipFill>
        <p:spPr>
          <a:xfrm>
            <a:off x="597634" y="4585067"/>
            <a:ext cx="2694168" cy="158074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E5D6606-BFEC-43A8-9F6C-C813D0E5C5ED}"/>
              </a:ext>
            </a:extLst>
          </p:cNvPr>
          <p:cNvSpPr/>
          <p:nvPr/>
        </p:nvSpPr>
        <p:spPr>
          <a:xfrm>
            <a:off x="1493127" y="1779404"/>
            <a:ext cx="886566" cy="8698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00" b="1">
                <a:solidFill>
                  <a:schemeClr val="accent2"/>
                </a:solidFill>
                <a:latin typeface="Franklin Gothic Heavy" panose="020B0903020102020204" pitchFamily="34" charset="0"/>
              </a:rPr>
              <a:t>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BC279F0-FB1E-4DD5-B9D3-867EE20D702D}"/>
              </a:ext>
            </a:extLst>
          </p:cNvPr>
          <p:cNvSpPr/>
          <p:nvPr/>
        </p:nvSpPr>
        <p:spPr>
          <a:xfrm>
            <a:off x="1493127" y="3429000"/>
            <a:ext cx="886566" cy="8698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00" b="1">
                <a:solidFill>
                  <a:schemeClr val="accent2"/>
                </a:solidFill>
                <a:latin typeface="Franklin Gothic Heavy" panose="020B0903020102020204" pitchFamily="34" charset="0"/>
              </a:rPr>
              <a:t>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B8D4340-34C6-4CF8-A21D-A4A7CC0B9A4F}"/>
              </a:ext>
            </a:extLst>
          </p:cNvPr>
          <p:cNvSpPr/>
          <p:nvPr/>
        </p:nvSpPr>
        <p:spPr>
          <a:xfrm>
            <a:off x="1493127" y="4916675"/>
            <a:ext cx="886566" cy="8698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00" b="1">
                <a:solidFill>
                  <a:schemeClr val="accent2"/>
                </a:solidFill>
                <a:latin typeface="Franklin Gothic Heavy" panose="020B0903020102020204" pitchFamily="34" charset="0"/>
              </a:rPr>
              <a:t>3</a:t>
            </a:r>
          </a:p>
        </p:txBody>
      </p:sp>
      <p:pic>
        <p:nvPicPr>
          <p:cNvPr id="18" name="Picture 17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DB171260-39AD-422E-863D-CD6B9B6625D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582" y="450587"/>
            <a:ext cx="2426039" cy="95263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8BAD3CDE-0611-4A5D-A165-5E8A6B81D8E2}"/>
              </a:ext>
            </a:extLst>
          </p:cNvPr>
          <p:cNvSpPr txBox="1"/>
          <p:nvPr/>
        </p:nvSpPr>
        <p:spPr>
          <a:xfrm>
            <a:off x="8481620" y="1686759"/>
            <a:ext cx="3373219" cy="4354294"/>
          </a:xfrm>
          <a:prstGeom prst="round2DiagRect">
            <a:avLst>
              <a:gd name="adj1" fmla="val 0"/>
              <a:gd name="adj2" fmla="val 16064"/>
            </a:avLst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endParaRPr lang="en-US" sz="1200">
              <a:latin typeface="Franklin Gothic Book" panose="020B05030201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0F62960-182D-42E0-972B-7576C706549B}"/>
              </a:ext>
            </a:extLst>
          </p:cNvPr>
          <p:cNvSpPr txBox="1"/>
          <p:nvPr/>
        </p:nvSpPr>
        <p:spPr>
          <a:xfrm>
            <a:off x="8687444" y="1959538"/>
            <a:ext cx="3013489" cy="37471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r>
              <a:rPr lang="en-US" sz="1200">
                <a:latin typeface="Franklin Gothic Book" panose="020B0503020102020204" pitchFamily="34" charset="0"/>
              </a:rPr>
              <a:t>Example of </a:t>
            </a:r>
          </a:p>
          <a:p>
            <a:pPr algn="ctr" defTabSz="609585">
              <a:buClr>
                <a:srgbClr val="CA99F5">
                  <a:lumMod val="75000"/>
                </a:srgbClr>
              </a:buClr>
              <a:defRPr/>
            </a:pPr>
            <a:r>
              <a:rPr lang="en-US" sz="1200">
                <a:latin typeface="Franklin Gothic Book" panose="020B0503020102020204" pitchFamily="34" charset="0"/>
              </a:rPr>
              <a:t>Pre-Written Scripts:</a:t>
            </a:r>
            <a:endParaRPr lang="en-US" sz="1600">
              <a:latin typeface="Franklin Gothic Book" panose="020B0503020102020204" pitchFamily="34" charset="0"/>
            </a:endParaRPr>
          </a:p>
          <a:p>
            <a:pPr defTabSz="609585">
              <a:buClr>
                <a:srgbClr val="CA99F5">
                  <a:lumMod val="75000"/>
                </a:srgbClr>
              </a:buClr>
              <a:defRPr/>
            </a:pPr>
            <a:r>
              <a:rPr lang="en-US" sz="1050">
                <a:latin typeface="Franklin Gothic Book" panose="020B0503020102020204" pitchFamily="34" charset="0"/>
              </a:rPr>
              <a:t> </a:t>
            </a:r>
          </a:p>
          <a:p>
            <a:pPr defTabSz="609585">
              <a:buClr>
                <a:srgbClr val="CA99F5">
                  <a:lumMod val="75000"/>
                </a:srgbClr>
              </a:buClr>
              <a:defRPr/>
            </a:pPr>
            <a:r>
              <a:rPr lang="en-US" sz="1200">
                <a:latin typeface="Franklin Gothic Book" panose="020B0503020102020204" pitchFamily="34" charset="0"/>
              </a:rPr>
              <a:t>Hello! This is {{CompanyName}}. Our records indicate that you received a COVID-19 vaccination earlier this year. It’s critical that our patients understand that like COVID-19, influenza poses significant risk to the elderly and those with underlying conditions. Influenza vaccination can help reduce the risk of influenza infection. Please call {{</a:t>
            </a:r>
            <a:r>
              <a:rPr lang="en-US" sz="1200" err="1">
                <a:latin typeface="Franklin Gothic Book" panose="020B0503020102020204" pitchFamily="34" charset="0"/>
              </a:rPr>
              <a:t>UserPhone</a:t>
            </a:r>
            <a:r>
              <a:rPr lang="en-US" sz="1200">
                <a:latin typeface="Franklin Gothic Book" panose="020B0503020102020204" pitchFamily="34" charset="0"/>
              </a:rPr>
              <a:t>}} to schedule your flu shot now.</a:t>
            </a:r>
          </a:p>
          <a:p>
            <a:pPr defTabSz="609585">
              <a:buClr>
                <a:srgbClr val="CA99F5">
                  <a:lumMod val="75000"/>
                </a:srgbClr>
              </a:buClr>
              <a:defRPr/>
            </a:pPr>
            <a:endParaRPr lang="en-US" sz="1100">
              <a:latin typeface="Franklin Gothic Book" panose="020B0503020102020204" pitchFamily="34" charset="0"/>
            </a:endParaRPr>
          </a:p>
          <a:p>
            <a:pPr defTabSz="609585">
              <a:buClr>
                <a:srgbClr val="CA99F5">
                  <a:lumMod val="75000"/>
                </a:srgbClr>
              </a:buClr>
              <a:defRPr/>
            </a:pPr>
            <a:r>
              <a:rPr lang="en-US" sz="1200">
                <a:latin typeface="Franklin Gothic Book" panose="020B0503020102020204" pitchFamily="34" charset="0"/>
              </a:rPr>
              <a:t>Hello! This is {{CompanyName}}. The most important thing you can do this flu season to help protect you and your family against influenza is to receive your annual influenza vaccination. Please call {{</a:t>
            </a:r>
            <a:r>
              <a:rPr lang="en-US" sz="1200" err="1">
                <a:latin typeface="Franklin Gothic Book" panose="020B0503020102020204" pitchFamily="34" charset="0"/>
              </a:rPr>
              <a:t>UserPhone</a:t>
            </a:r>
            <a:r>
              <a:rPr lang="en-US" sz="1200">
                <a:latin typeface="Franklin Gothic Book" panose="020B0503020102020204" pitchFamily="34" charset="0"/>
              </a:rPr>
              <a:t>}} to schedule your flu shot now.</a:t>
            </a:r>
          </a:p>
        </p:txBody>
      </p:sp>
      <p:sp>
        <p:nvSpPr>
          <p:cNvPr id="26" name="Footer Placeholder 1">
            <a:extLst>
              <a:ext uri="{FF2B5EF4-FFF2-40B4-BE49-F238E27FC236}">
                <a16:creationId xmlns:a16="http://schemas.microsoft.com/office/drawing/2014/main" id="{23281190-0220-41C0-89F3-111576707F6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314140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Art Placeholder 1">
            <a:extLst>
              <a:ext uri="{FF2B5EF4-FFF2-40B4-BE49-F238E27FC236}">
                <a16:creationId xmlns:a16="http://schemas.microsoft.com/office/drawing/2014/main" id="{BDED9FBA-BEFE-41BF-87F7-378A817B2F21}"/>
              </a:ext>
            </a:extLst>
          </p:cNvPr>
          <p:cNvSpPr>
            <a:spLocks noGrp="1"/>
          </p:cNvSpPr>
          <p:nvPr>
            <p:ph type="dgm" sz="quarter" idx="13"/>
          </p:nvPr>
        </p:nvSpPr>
        <p:spPr/>
      </p:sp>
      <p:sp>
        <p:nvSpPr>
          <p:cNvPr id="3" name="SmartArt Placeholder 2">
            <a:extLst>
              <a:ext uri="{FF2B5EF4-FFF2-40B4-BE49-F238E27FC236}">
                <a16:creationId xmlns:a16="http://schemas.microsoft.com/office/drawing/2014/main" id="{EC3884FF-CCEB-4129-BDAA-4313618987DD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DBAEC2-C433-462D-9A42-E361D55009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0777" y="2053522"/>
            <a:ext cx="9230445" cy="1658148"/>
          </a:xfrm>
        </p:spPr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9389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333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64" imgW="395" imgH="394" progId="TCLayout.ActiveDocument.1">
                  <p:embed/>
                </p:oleObj>
              </mc:Choice>
              <mc:Fallback>
                <p:oleObj name="think-cell Slide" r:id="rId6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968" y="404589"/>
            <a:ext cx="10271390" cy="387798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Less Severe Seasons May Indicate Season of Severe Flu-Related Complications Ahea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8" name="Chart 107">
            <a:extLst>
              <a:ext uri="{FF2B5EF4-FFF2-40B4-BE49-F238E27FC236}">
                <a16:creationId xmlns:a16="http://schemas.microsoft.com/office/drawing/2014/main" id="{0B917FB2-142F-4783-930B-879B331707B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83768086"/>
              </p:ext>
            </p:extLst>
          </p:nvPr>
        </p:nvGraphicFramePr>
        <p:xfrm>
          <a:off x="1260475" y="1530350"/>
          <a:ext cx="9691688" cy="2043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7392CA2-53A0-4C89-BB9E-95843AA887A8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2846388" y="2041525"/>
            <a:ext cx="0" cy="855663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2BBAA61-1D76-4323-A1FA-991B3DBA05A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846388" y="2041525"/>
            <a:ext cx="803275" cy="0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A163F5B-79AA-40CF-8B8B-49D536C446E4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649663" y="2041525"/>
            <a:ext cx="0" cy="152400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70F4973-E9CE-4770-A7F6-A380450FD4CE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661275" y="1633538"/>
            <a:ext cx="0" cy="152400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C98DB5F5-6423-4BAB-8839-6F5FEE13001B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6056313" y="1633538"/>
            <a:ext cx="0" cy="1014413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FCFC8F-4A79-4D26-A94B-090EF733670B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6056313" y="1633538"/>
            <a:ext cx="1604963" cy="0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0253BF8-710B-4F2A-B9E3-7DAA2710E80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712913" y="35099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5CA78502-0262-43EB-815E-0CE7C2A110F2}" type="datetime'''''''''''''2''''''''0''''10''''-''1''''''1''''''''''''''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0-11</a:t>
            </a:fld>
            <a:endParaRPr lang="en-US" altLang="fr-FR" sz="1200"/>
          </a:p>
        </p:txBody>
      </p:sp>
      <p:sp useBgFill="1">
        <p:nvSpPr>
          <p:cNvPr id="15" name="Text Placeholder 2">
            <a:extLst>
              <a:ext uri="{FF2B5EF4-FFF2-40B4-BE49-F238E27FC236}">
                <a16:creationId xmlns:a16="http://schemas.microsoft.com/office/drawing/2014/main" id="{25C82EE7-A095-4539-BB04-16700D4632E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471738" y="2935288"/>
            <a:ext cx="749300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FC8F6BC3-8418-4EC0-B357-D4DC49F68109}" type="datetime'''''''''''1''''''2'''''''''''''''',''0''''0''''''''''0'''''''">
              <a:rPr lang="en-US" altLang="en-US" sz="1400" b="1" smtClean="0">
                <a:solidFill>
                  <a:schemeClr val="accent2"/>
                </a:solidFill>
              </a:rPr>
              <a:pPr marL="0" lvl="1" indent="0" algn="ctr">
                <a:spcBef>
                  <a:spcPct val="0"/>
                </a:spcBef>
                <a:buNone/>
              </a:pPr>
              <a:t>12,000</a:t>
            </a:fld>
            <a:endParaRPr lang="en-US" altLang="fr-FR" sz="1400" b="1">
              <a:solidFill>
                <a:schemeClr val="accent2"/>
              </a:solidFill>
            </a:endParaRPr>
          </a:p>
        </p:txBody>
      </p:sp>
      <p:sp useBgFill="1">
        <p:nvSpPr>
          <p:cNvPr id="16" name="Text Placeholder 2">
            <a:extLst>
              <a:ext uri="{FF2B5EF4-FFF2-40B4-BE49-F238E27FC236}">
                <a16:creationId xmlns:a16="http://schemas.microsoft.com/office/drawing/2014/main" id="{4900548E-B957-482F-9992-649ABE6233B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874250" y="3205163"/>
            <a:ext cx="388938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39CCF8AE-F696-47BF-8FF9-BBEF917706B1}" type="datetime'''''''''''''''''1''''''''''''''''''''''''3''6'''''''''''''''''">
              <a:rPr lang="en-US" altLang="en-US" sz="1400" smtClean="0"/>
              <a:pPr marL="0" lvl="1" indent="0" algn="ctr">
                <a:spcBef>
                  <a:spcPct val="0"/>
                </a:spcBef>
                <a:buNone/>
              </a:pPr>
              <a:t>136</a:t>
            </a:fld>
            <a:endParaRPr lang="en-US" altLang="fr-FR" sz="140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29A5F67-4C07-4C5D-9BB1-7A4F54DDE81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317875" y="35099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F295955D-105A-457B-8EED-1BF52294335A}" type="datetime'''2''''''''''0''1''2''''''''''-''1''''''3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2-13</a:t>
            </a:fld>
            <a:endParaRPr lang="en-US" altLang="fr-FR" sz="12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DC0F60B-E547-44A6-9F1F-98BEE8F8641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514600" y="35099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D4B635D2-1861-44A5-B0F2-23E21B23408E}" type="datetime'''''''''''''2''0''''1''''1''-1''''''''''''''''''''''2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1-12</a:t>
            </a:fld>
            <a:endParaRPr lang="en-US" altLang="fr-FR" sz="1200"/>
          </a:p>
        </p:txBody>
      </p:sp>
      <p:sp useBgFill="1">
        <p:nvSpPr>
          <p:cNvPr id="24" name="Text Placeholder 2">
            <a:extLst>
              <a:ext uri="{FF2B5EF4-FFF2-40B4-BE49-F238E27FC236}">
                <a16:creationId xmlns:a16="http://schemas.microsoft.com/office/drawing/2014/main" id="{C1E14282-3671-44DF-8D29-457D5668D90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111625" y="2346325"/>
            <a:ext cx="679450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1D14380E-7F12-41CF-8F6E-5B16A574A205}" type="datetime'38'''',''''''''0''''''''''''0''''''''''''0'''">
              <a:rPr lang="en-US" altLang="en-US" sz="1400" smtClean="0"/>
              <a:pPr marL="0" lvl="1" indent="0" algn="ctr">
                <a:spcBef>
                  <a:spcPct val="0"/>
                </a:spcBef>
                <a:buNone/>
              </a:pPr>
              <a:t>38,000</a:t>
            </a:fld>
            <a:endParaRPr lang="en-US" altLang="fr-FR" sz="140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78F7F83-5475-4218-8AB4-6D26A8BB322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24525" y="35099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353029D1-B5D2-42EF-B1BB-1AD52B60A3C3}" type="datetime'''''''''''''''''''''''20''''''''''''''15''''''''-''16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5-16</a:t>
            </a:fld>
            <a:endParaRPr lang="en-US" altLang="fr-FR" sz="120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E146F05-D38A-4688-ADFA-B9F6BC1B448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119563" y="35099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2D27801C-E8DF-4D64-BFF0-07A27576F738}" type="datetime'''''''2''0''''''''''''''''''''13''-''''''''''1''''''''''4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3-14</a:t>
            </a:fld>
            <a:endParaRPr lang="en-US" altLang="fr-FR" sz="12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296878C-B5FF-4799-AAD2-F1496FF95E0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921250" y="35099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AEED7CCC-1B76-49AC-B945-64087DC2902F}" type="datetime'''''''''''''2''''0''15''''''''''''''''''''''''''''''''-1''5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5-15</a:t>
            </a:fld>
            <a:endParaRPr lang="en-US" altLang="fr-FR" sz="1200"/>
          </a:p>
        </p:txBody>
      </p:sp>
      <p:sp useBgFill="1">
        <p:nvSpPr>
          <p:cNvPr id="20" name="Text Placeholder 2">
            <a:extLst>
              <a:ext uri="{FF2B5EF4-FFF2-40B4-BE49-F238E27FC236}">
                <a16:creationId xmlns:a16="http://schemas.microsoft.com/office/drawing/2014/main" id="{FCD180E4-4AE3-4C48-9004-121BBDB43E9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681663" y="2686050"/>
            <a:ext cx="749300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07F8AF16-F48C-4FEB-93B3-987AD95ED9D0}" type="datetime'''''''''2''''3'''''''''''''''''''''',''0''''''00'''''">
              <a:rPr lang="en-US" altLang="en-US" sz="1400" b="1" smtClean="0">
                <a:solidFill>
                  <a:schemeClr val="accent2"/>
                </a:solidFill>
              </a:rPr>
              <a:pPr marL="0" lvl="1" indent="0" algn="ctr">
                <a:spcBef>
                  <a:spcPct val="0"/>
                </a:spcBef>
                <a:buNone/>
              </a:pPr>
              <a:t>23,000</a:t>
            </a:fld>
            <a:endParaRPr lang="en-US" altLang="fr-FR" sz="1400" b="1">
              <a:solidFill>
                <a:schemeClr val="accent2"/>
              </a:solidFill>
            </a:endParaRPr>
          </a:p>
        </p:txBody>
      </p:sp>
      <p:sp useBgFill="1">
        <p:nvSpPr>
          <p:cNvPr id="28" name="Text Placeholder 2">
            <a:extLst>
              <a:ext uri="{FF2B5EF4-FFF2-40B4-BE49-F238E27FC236}">
                <a16:creationId xmlns:a16="http://schemas.microsoft.com/office/drawing/2014/main" id="{3BD42E5D-F308-4705-8B9B-B86159E4A2F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518275" y="2346325"/>
            <a:ext cx="679450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FE8EE491-7C11-421A-B331-A76B14A0D4F8}" type="datetime'''''3''''''''8,''''''''''''''0''00'''''''''''''''''''''">
              <a:rPr lang="en-US" altLang="en-US" sz="1400" smtClean="0"/>
              <a:pPr marL="0" lvl="1" indent="0" algn="ctr">
                <a:spcBef>
                  <a:spcPct val="0"/>
                </a:spcBef>
                <a:buNone/>
              </a:pPr>
              <a:t>38,000</a:t>
            </a:fld>
            <a:endParaRPr lang="en-US" altLang="fr-FR" sz="14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A07B5D-ACA8-457F-9B5B-15D82A34CB5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526213" y="35099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BA18B055-2A80-400B-B650-BD05F519736B}" type="datetime'''''''''''''''2''0''''''16''''-''1''''''''''''''''''''''7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6-17</a:t>
            </a:fld>
            <a:endParaRPr lang="en-US" altLang="fr-FR" sz="120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3E3ED33-96F8-42FD-83F5-69D1073D251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329488" y="35099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9870901F-774F-4CD2-BE0C-122B2B7D8305}" type="datetime'''''''2''0''''''''1''7''-''''''''''''''''18''''''''''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7-18</a:t>
            </a:fld>
            <a:endParaRPr lang="en-US" altLang="fr-FR" sz="1200"/>
          </a:p>
        </p:txBody>
      </p:sp>
      <p:sp useBgFill="1">
        <p:nvSpPr>
          <p:cNvPr id="32" name="Text Placeholder 2">
            <a:extLst>
              <a:ext uri="{FF2B5EF4-FFF2-40B4-BE49-F238E27FC236}">
                <a16:creationId xmlns:a16="http://schemas.microsoft.com/office/drawing/2014/main" id="{909A3A13-01BD-47BF-A00E-9D53726ED59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123238" y="2436813"/>
            <a:ext cx="679450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DC68BC9D-55AA-4982-A95C-17C001577307}" type="datetime'''3''''''''''''''''''''''''4'''''''',''''''0''''''0''''''''0'">
              <a:rPr lang="en-US" altLang="en-US" sz="1400" smtClean="0"/>
              <a:pPr marL="0" lvl="1" indent="0" algn="ctr">
                <a:spcBef>
                  <a:spcPct val="0"/>
                </a:spcBef>
                <a:buNone/>
              </a:pPr>
              <a:t>34,000</a:t>
            </a:fld>
            <a:endParaRPr lang="en-US" altLang="fr-FR" sz="14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88DBC33-BED4-4D63-8848-8E46F729470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131175" y="35099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624EA17B-6213-4503-A791-40D4349B68BE}" type="datetime'''''''201''''''''''''''''8''''-''1''''''''''''9''''''''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8-19</a:t>
            </a:fld>
            <a:endParaRPr lang="en-US" altLang="fr-FR" sz="1200"/>
          </a:p>
        </p:txBody>
      </p:sp>
      <p:sp useBgFill="1">
        <p:nvSpPr>
          <p:cNvPr id="35" name="Text Placeholder 2">
            <a:extLst>
              <a:ext uri="{FF2B5EF4-FFF2-40B4-BE49-F238E27FC236}">
                <a16:creationId xmlns:a16="http://schemas.microsoft.com/office/drawing/2014/main" id="{44DE2CF3-59F1-4C94-82D9-645C0C56C1B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924925" y="2708275"/>
            <a:ext cx="679450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819A629E-54B9-4CC1-BEC5-59F93640ED24}" type="datetime'''''22,''0''''''''''''0''''''''''''''''''0'''">
              <a:rPr lang="en-US" altLang="en-US" sz="1400" smtClean="0"/>
              <a:pPr marL="0" lvl="1" indent="0" algn="ctr">
                <a:spcBef>
                  <a:spcPct val="0"/>
                </a:spcBef>
                <a:buNone/>
              </a:pPr>
              <a:t>22,000</a:t>
            </a:fld>
            <a:endParaRPr lang="en-US" altLang="fr-FR" sz="140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27A8CB3-28C1-451E-99D7-13950DF4EB0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932863" y="35099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D089EC08-94BF-4C02-8598-C83CC8AFAFA6}" type="datetime'''''''''''2''''''''''''''''0''''19''''-2''''0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9-20</a:t>
            </a:fld>
            <a:endParaRPr lang="en-US" altLang="fr-FR" sz="12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51C47CE-6334-4DE8-8D5F-E74DD4DF9FB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688513" y="3509963"/>
            <a:ext cx="760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B6D4E9AC-42F2-4D48-8DF5-98BE8FE06FCF}" type="datetime'''''''''2''''0''2''''''''0''-''''''2''''''1''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20-21</a:t>
            </a:fld>
            <a:r>
              <a:rPr lang="en-US" altLang="en-US" sz="1200"/>
              <a:t>*</a:t>
            </a:r>
            <a:endParaRPr lang="en-US" altLang="fr-FR" sz="120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B20C336-7387-4877-9F30-C5492D4783B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537825" y="35099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765F2F9F-ECAA-4401-8985-19BC03D456A4}" type="datetime'''''''2''''''0''''21''''''-''''2''''''''''2''''''''''''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21-22</a:t>
            </a:fld>
            <a:endParaRPr lang="en-US" altLang="fr-FR" sz="1200"/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704A426E-7817-4166-B96A-1B903541A66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431463" y="3057525"/>
            <a:ext cx="876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67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7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7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>
                <a:solidFill>
                  <a:schemeClr val="accent2"/>
                </a:solidFill>
                <a:effectLst/>
                <a:latin typeface="+mn-lt"/>
                <a:ea typeface="+mn-ea"/>
                <a:cs typeface="+mn-cs"/>
              </a:rPr>
              <a:t>4,500**</a:t>
            </a:r>
            <a:endParaRPr lang="en-US" sz="1400" b="1" noProof="0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13" name="Chart 112">
            <a:extLst>
              <a:ext uri="{FF2B5EF4-FFF2-40B4-BE49-F238E27FC236}">
                <a16:creationId xmlns:a16="http://schemas.microsoft.com/office/drawing/2014/main" id="{47407D6D-C6B2-48A5-A940-4E47DA2CE95C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283017428"/>
              </p:ext>
            </p:extLst>
          </p:nvPr>
        </p:nvGraphicFramePr>
        <p:xfrm>
          <a:off x="1962150" y="3824288"/>
          <a:ext cx="8990013" cy="2054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8242900-BAE3-4BEE-AB00-E497AC84A01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255713" y="4962525"/>
            <a:ext cx="636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51D6CD5F-2783-4E10-91B1-ED7579689434}" type="datetime'''''''4''0''''''''''''''''0'''',''''0''''''''0''''0'''''''''''">
              <a:rPr lang="en-US" altLang="en-US" sz="1200" smtClean="0"/>
              <a:pPr marL="0" lvl="1" indent="0" algn="r">
                <a:spcBef>
                  <a:spcPct val="0"/>
                </a:spcBef>
                <a:buNone/>
              </a:pPr>
              <a:t>400,000</a:t>
            </a:fld>
            <a:endParaRPr lang="en-US" altLang="fr-FR" sz="120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3ACFBE2-E1CA-480D-BB25-6977CFAC589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255713" y="5340350"/>
            <a:ext cx="636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E5CB9657-EA43-4CC0-865F-27372FD5F63A}" type="datetime'2''''''00'''''''''''''''''''',''00''''''''0'''''''''''''''''">
              <a:rPr lang="en-US" altLang="en-US" sz="1200" smtClean="0"/>
              <a:pPr marL="0" lvl="1" indent="0" algn="r">
                <a:spcBef>
                  <a:spcPct val="0"/>
                </a:spcBef>
                <a:buNone/>
              </a:pPr>
              <a:t>200,000</a:t>
            </a:fld>
            <a:endParaRPr lang="en-US" altLang="fr-FR" sz="12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3EE2BFC-2DA0-4086-8DF6-949FE1B1396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795463" y="5718175"/>
            <a:ext cx="968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EDAC303F-2121-4198-8D04-7C2828387388}" type="datetime'''''''''''0'''''''">
              <a:rPr lang="en-US" altLang="en-US" sz="1200" smtClean="0"/>
              <a:pPr marL="0" lvl="1" indent="0" algn="r">
                <a:spcBef>
                  <a:spcPct val="0"/>
                </a:spcBef>
                <a:buNone/>
              </a:pPr>
              <a:t>0</a:t>
            </a:fld>
            <a:endParaRPr lang="en-US" altLang="fr-FR" sz="120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8543046-E38B-4584-B878-FC947FD9B5D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255713" y="4584700"/>
            <a:ext cx="636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B1400AFC-8175-4D50-A29F-48A9D4F2F88B}" type="datetime'''''6''''''0''0,''''''''''0''''0''''''''''''''''0'''">
              <a:rPr lang="en-US" altLang="en-US" sz="1200" smtClean="0"/>
              <a:pPr marL="0" lvl="1" indent="0" algn="r">
                <a:spcBef>
                  <a:spcPct val="0"/>
                </a:spcBef>
                <a:buNone/>
              </a:pPr>
              <a:t>600,000</a:t>
            </a:fld>
            <a:endParaRPr lang="en-US" altLang="fr-FR" sz="12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9F5BB63E-249A-47C0-9A8D-FE37BD0330E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255713" y="4206875"/>
            <a:ext cx="636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0724999C-B55F-4511-8E0E-57C588CC170E}" type="datetime'''''''''''''''''8''''''''''0''''''''0'''''''''''''''',0''00'">
              <a:rPr lang="en-US" altLang="en-US" sz="1200" smtClean="0"/>
              <a:pPr marL="0" lvl="1" indent="0" algn="r">
                <a:spcBef>
                  <a:spcPct val="0"/>
                </a:spcBef>
                <a:buNone/>
              </a:pPr>
              <a:t>800,000</a:t>
            </a:fld>
            <a:endParaRPr lang="en-US" altLang="fr-FR" sz="120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9D456F69-9756-46A6-8670-4A1DA7853EC8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 flipV="1">
            <a:off x="2846388" y="5189538"/>
            <a:ext cx="0" cy="52388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B6F159D-32FA-449F-BC25-EF5D57EEFB96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gray">
          <a:xfrm flipV="1">
            <a:off x="2846388" y="4278313"/>
            <a:ext cx="0" cy="719138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A6192D70-659C-4106-9000-74CCD647454F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2846388" y="4278313"/>
            <a:ext cx="803275" cy="0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9F96684-86FC-489F-A3C0-8514EDD5D18F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3649663" y="4278313"/>
            <a:ext cx="0" cy="152400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41E2B92C-AA88-4E98-95BE-AC2D50FCA040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7661275" y="3824288"/>
            <a:ext cx="0" cy="152400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4EC39743-B534-4F67-A110-627987A342D8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6056313" y="3824288"/>
            <a:ext cx="1604963" cy="0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3FF8EDBA-95B6-4876-A79A-618BE21FA398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 flipV="1">
            <a:off x="6056313" y="3824288"/>
            <a:ext cx="0" cy="1154113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53" name="Text Placeholder 2">
            <a:extLst>
              <a:ext uri="{FF2B5EF4-FFF2-40B4-BE49-F238E27FC236}">
                <a16:creationId xmlns:a16="http://schemas.microsoft.com/office/drawing/2014/main" id="{FBB5DF38-F4D5-4AF2-9857-25E8EF6420B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056063" y="4884738"/>
            <a:ext cx="792163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554AFC7E-23C3-47B2-90BB-E2A6611CB460}" type="datetime'''3''''''''5''''0'',''''''0''''''''''''0''0'''''''''''''''">
              <a:rPr lang="en-US" altLang="en-US" sz="1400" smtClean="0"/>
              <a:pPr marL="0" lvl="1" indent="0" algn="ctr">
                <a:spcBef>
                  <a:spcPct val="0"/>
                </a:spcBef>
                <a:buNone/>
              </a:pPr>
              <a:t>350,000</a:t>
            </a:fld>
            <a:endParaRPr lang="en-US" altLang="fr-FR" sz="14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04BA730-8D81-4758-80B0-2890FBE68D2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724525" y="58467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8B0C3570-284A-4CD8-9286-1F0107275185}" type="datetime'''2''''''''''''0''''''''''''1''5-''''''''''''1''''6''''''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5-16</a:t>
            </a:fld>
            <a:endParaRPr lang="en-US" altLang="fr-FR" sz="120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D99786C1-FF74-4379-9A07-2C6E76DB2CA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921250" y="58467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023104ED-68B8-4679-9A91-850DC0E4D5DA}" type="datetime'''''''20''''''1''''''5''-''''''''''''''''15''''''''''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5-15</a:t>
            </a:fld>
            <a:endParaRPr lang="en-US" altLang="fr-FR" sz="120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DDB36B15-271D-4FA0-9374-D9C907409F1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0537825" y="58467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B84F7F7F-8A16-47F4-AB62-478DEF49FE56}" type="datetime'''2''''''''''''0''''''2''''''''''1''''''''-''''22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21-22</a:t>
            </a:fld>
            <a:endParaRPr lang="en-US" altLang="fr-FR" sz="120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DB14374-5B04-4A93-BF3C-C1C8C0FB7CB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712913" y="58467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A38AF74C-23C0-4A5B-9B5C-1879FB220327}" type="datetime'''''2''''''''0''1''''''''''''''''''''0-''''1''''''''''''1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0-11</a:t>
            </a:fld>
            <a:endParaRPr lang="en-US" altLang="fr-FR" sz="120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A8234D8-CEA7-40AB-8AE1-CD34D58E42F2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329488" y="58467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B059B535-D35B-403C-B1EF-58BA30E77490}" type="datetime'''2''''''''''0''17''''''-1''8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7-18</a:t>
            </a:fld>
            <a:endParaRPr lang="en-US" altLang="fr-FR" sz="1200"/>
          </a:p>
        </p:txBody>
      </p:sp>
      <p:sp useBgFill="1">
        <p:nvSpPr>
          <p:cNvPr id="50" name="Text Placeholder 2">
            <a:extLst>
              <a:ext uri="{FF2B5EF4-FFF2-40B4-BE49-F238E27FC236}">
                <a16:creationId xmlns:a16="http://schemas.microsoft.com/office/drawing/2014/main" id="{06E4F66C-A6EB-467F-B6A0-E381B63D436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2408238" y="5280025"/>
            <a:ext cx="876300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F14A06E5-B526-4BB1-B591-29E9172AFD1C}" type="datetime'''1''''''4''0'''''''',''''''0''''''''''''''''00'''''''">
              <a:rPr lang="en-US" altLang="en-US" sz="1400" b="1" smtClean="0">
                <a:solidFill>
                  <a:schemeClr val="accent2"/>
                </a:solidFill>
              </a:rPr>
              <a:pPr marL="0" lvl="1" indent="0" algn="ctr">
                <a:spcBef>
                  <a:spcPct val="0"/>
                </a:spcBef>
                <a:buNone/>
              </a:pPr>
              <a:t>140,000</a:t>
            </a:fld>
            <a:endParaRPr lang="en-US" altLang="fr-FR" sz="1400" b="1">
              <a:solidFill>
                <a:schemeClr val="accent2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16F022F0-42A5-4C08-867B-6058032BDBC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514600" y="58467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2CE83042-918C-4D61-9FF5-289E27F70C94}" type="datetime'''20''''''1''1-''''''''''''1''''''''''2''''''''''''''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1-12</a:t>
            </a:fld>
            <a:endParaRPr lang="en-US" altLang="fr-FR" sz="120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A381F7BD-2DA4-443C-A84A-CB07D6032E83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3317875" y="58467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5BC0E7BE-F3A7-4DD6-89A8-A75FBB42B5FB}" type="datetime'''''''''''2''''''''0''12''''''''-''''1''''''3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2-13</a:t>
            </a:fld>
            <a:endParaRPr lang="en-US" altLang="fr-FR" sz="120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F185809-685D-4CC8-9AF7-CE760D7272D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119563" y="58467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2DB4987E-97E1-4C85-A5F6-67B212626EE8}" type="datetime'''''2''0''''''''''''''1''''''''''''''''3''-''''''''14''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3-14</a:t>
            </a:fld>
            <a:endParaRPr lang="en-US" altLang="fr-FR" sz="1200"/>
          </a:p>
        </p:txBody>
      </p:sp>
      <p:sp useBgFill="1">
        <p:nvSpPr>
          <p:cNvPr id="57" name="Text Placeholder 2">
            <a:extLst>
              <a:ext uri="{FF2B5EF4-FFF2-40B4-BE49-F238E27FC236}">
                <a16:creationId xmlns:a16="http://schemas.microsoft.com/office/drawing/2014/main" id="{CC49E7FC-3298-49F3-B250-FDC324108E5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5618162" y="5016500"/>
            <a:ext cx="876300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17078549-15E4-45E6-A060-BF7433C89E5A}" type="datetime'''''''''''''''''''''''28''''''0'''''',00''''''''''''0'''''''">
              <a:rPr lang="en-US" altLang="en-US" sz="1400" b="1" smtClean="0">
                <a:solidFill>
                  <a:schemeClr val="accent2"/>
                </a:solidFill>
              </a:rPr>
              <a:pPr marL="0" lvl="1" indent="0" algn="ctr">
                <a:spcBef>
                  <a:spcPct val="0"/>
                </a:spcBef>
                <a:buNone/>
              </a:pPr>
              <a:t>280,000</a:t>
            </a:fld>
            <a:endParaRPr lang="en-US" altLang="fr-FR" sz="1400" b="1">
              <a:solidFill>
                <a:schemeClr val="accent2"/>
              </a:solidFill>
            </a:endParaRPr>
          </a:p>
        </p:txBody>
      </p:sp>
      <p:sp useBgFill="1">
        <p:nvSpPr>
          <p:cNvPr id="58" name="Text Placeholder 2">
            <a:extLst>
              <a:ext uri="{FF2B5EF4-FFF2-40B4-BE49-F238E27FC236}">
                <a16:creationId xmlns:a16="http://schemas.microsoft.com/office/drawing/2014/main" id="{C32CEB9F-4865-48E5-920C-A13E3275F27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6462713" y="4600575"/>
            <a:ext cx="792163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E582BD7C-D7D9-46AE-992B-5F481B4245F9}" type="datetime'5''00'''''''''',''''''''0''''''''0''''''''0'''''''''''''''">
              <a:rPr lang="en-US" altLang="en-US" sz="1400" smtClean="0"/>
              <a:pPr marL="0" lvl="1" indent="0" algn="ctr">
                <a:spcBef>
                  <a:spcPct val="0"/>
                </a:spcBef>
                <a:buNone/>
              </a:pPr>
              <a:t>500,000</a:t>
            </a:fld>
            <a:endParaRPr lang="en-US" altLang="fr-FR" sz="140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44A2854A-B32E-4A39-8B4B-AE6230A8750F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526213" y="58467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3268548B-2EB9-482A-AC78-A588F51451FC}" type="datetime'''''''2''''''''0''''''''''''''''''''''''''1''6''''''-''17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6-17</a:t>
            </a:fld>
            <a:endParaRPr lang="en-US" altLang="fr-FR" sz="1200"/>
          </a:p>
        </p:txBody>
      </p:sp>
      <p:sp useBgFill="1">
        <p:nvSpPr>
          <p:cNvPr id="61" name="Text Placeholder 2">
            <a:extLst>
              <a:ext uri="{FF2B5EF4-FFF2-40B4-BE49-F238E27FC236}">
                <a16:creationId xmlns:a16="http://schemas.microsoft.com/office/drawing/2014/main" id="{DA5B9357-48BF-4541-BB28-31C6CA922FBC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8067675" y="4619625"/>
            <a:ext cx="792163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3F239879-F06E-472F-A6E3-10C0FE3B7DB5}" type="datetime'''''''''''49''''0'',''''''''''''''''0''00'''''''''">
              <a:rPr lang="en-US" altLang="en-US" sz="1400" smtClean="0"/>
              <a:pPr marL="0" lvl="1" indent="0" algn="ctr">
                <a:spcBef>
                  <a:spcPct val="0"/>
                </a:spcBef>
                <a:buNone/>
              </a:pPr>
              <a:t>490,000</a:t>
            </a:fld>
            <a:endParaRPr lang="en-US" altLang="fr-FR" sz="140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F65D41E4-40F0-4FF5-93E2-6D71A03C2A14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131175" y="58467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388A9723-B13B-4918-91E1-AF936E483849}" type="datetime'''2''''0''''''1''''8''''''''''''''-''''''1''9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8-19</a:t>
            </a:fld>
            <a:endParaRPr lang="en-US" altLang="fr-FR" sz="120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A2B5362D-F4AA-4014-AAB2-5FED4F85CAF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932863" y="5846763"/>
            <a:ext cx="6635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B94E7155-CE05-452E-BA01-55411D5F673F}" type="datetime'''20''''1''9''''''''''''''''-''''2''0''''''''''''''''''''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19-20</a:t>
            </a:fld>
            <a:endParaRPr lang="en-US" altLang="fr-FR" sz="1200"/>
          </a:p>
        </p:txBody>
      </p:sp>
      <p:sp useBgFill="1">
        <p:nvSpPr>
          <p:cNvPr id="63" name="Text Placeholder 2">
            <a:extLst>
              <a:ext uri="{FF2B5EF4-FFF2-40B4-BE49-F238E27FC236}">
                <a16:creationId xmlns:a16="http://schemas.microsoft.com/office/drawing/2014/main" id="{1DC3509B-8CAF-4D28-82AB-A7EBEBFB2999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874250" y="5545138"/>
            <a:ext cx="388938" cy="192088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9FAFECA9-F518-496D-87EB-703245B1FC66}" type="datetime'''''''2''''''''''''''''''''''''''''''''''92'''''''''''''''''">
              <a:rPr lang="en-US" altLang="en-US" sz="1400" smtClean="0"/>
              <a:pPr marL="0" lvl="1" indent="0" algn="ctr">
                <a:spcBef>
                  <a:spcPct val="0"/>
                </a:spcBef>
                <a:buNone/>
              </a:pPr>
              <a:t>292</a:t>
            </a:fld>
            <a:endParaRPr lang="en-US" altLang="fr-FR" sz="140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16048CC1-5C58-49D1-BD94-14C86480E3F0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688513" y="5846763"/>
            <a:ext cx="760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6262" indent="-186262" algn="l" defTabSz="914377" rtl="0" eaLnBrk="0" fontAlgn="base" hangingPunct="0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667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1942" indent="-182029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853" indent="-179913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bg2"/>
              </a:buClr>
              <a:buFont typeface="Arial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6AD708D6-EB6C-4EA4-8109-041E069042FE}" type="datetime'''20''''''''''''''''''2''''''''''''0''-''''''2''''''1'">
              <a:rPr lang="en-US" altLang="en-US" sz="1200" smtClean="0"/>
              <a:pPr marL="0" lvl="1" indent="0" algn="ctr">
                <a:spcBef>
                  <a:spcPct val="0"/>
                </a:spcBef>
                <a:buNone/>
              </a:pPr>
              <a:t>2020-21</a:t>
            </a:fld>
            <a:r>
              <a:rPr lang="en-US" altLang="en-US" sz="1200"/>
              <a:t>*</a:t>
            </a:r>
            <a:endParaRPr lang="en-US" altLang="fr-FR" sz="120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A263BB05-4F54-4BEA-9C74-919CBC57D8F1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0304463" y="5249863"/>
            <a:ext cx="1130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67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7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7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>
                <a:solidFill>
                  <a:schemeClr val="accent2"/>
                </a:solidFill>
                <a:effectLst/>
                <a:latin typeface="+mn-lt"/>
                <a:ea typeface="+mn-ea"/>
                <a:cs typeface="+mn-cs"/>
              </a:rPr>
              <a:t>126,000**</a:t>
            </a:r>
            <a:endParaRPr lang="en-US" sz="1400" b="1" noProof="0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2DA14847-8FFB-4FE3-AD70-48FC200248AB}"/>
              </a:ext>
            </a:extLst>
          </p:cNvPr>
          <p:cNvSpPr txBox="1"/>
          <p:nvPr/>
        </p:nvSpPr>
        <p:spPr>
          <a:xfrm rot="16200000">
            <a:off x="175235" y="2065767"/>
            <a:ext cx="12141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Franklin Gothic Book" panose="020B0503020102020204" pitchFamily="34" charset="0"/>
              </a:rPr>
              <a:t>Deaths</a:t>
            </a:r>
            <a:r>
              <a:rPr lang="en-US" sz="1800" baseline="30000">
                <a:latin typeface="Franklin Gothic Book" panose="020B0503020102020204" pitchFamily="34" charset="0"/>
              </a:rPr>
              <a:t>1,2</a:t>
            </a:r>
            <a:endParaRPr lang="en-US" b="1">
              <a:latin typeface="Franklin Gothic Book" panose="020B0503020102020204" pitchFamily="34" charset="0"/>
            </a:endParaRP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283B6804-3D2A-4A2E-8AD8-098BDB9E8BC5}"/>
              </a:ext>
            </a:extLst>
          </p:cNvPr>
          <p:cNvSpPr txBox="1"/>
          <p:nvPr/>
        </p:nvSpPr>
        <p:spPr>
          <a:xfrm rot="16200000">
            <a:off x="-498414" y="4249878"/>
            <a:ext cx="2561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Franklin Gothic Book" panose="020B0503020102020204" pitchFamily="34" charset="0"/>
              </a:rPr>
              <a:t>Hospitalizations</a:t>
            </a:r>
            <a:r>
              <a:rPr lang="en-US" sz="2000" baseline="30000">
                <a:latin typeface="Franklin Gothic Book" panose="020B0503020102020204" pitchFamily="34" charset="0"/>
              </a:rPr>
              <a:t>1,2</a:t>
            </a:r>
            <a:endParaRPr lang="en-US" sz="2000" b="1">
              <a:latin typeface="Franklin Gothic Book" panose="020B0503020102020204" pitchFamily="34" charset="0"/>
            </a:endParaRPr>
          </a:p>
        </p:txBody>
      </p:sp>
      <p:sp>
        <p:nvSpPr>
          <p:cNvPr id="253" name="Oval 252">
            <a:extLst>
              <a:ext uri="{FF2B5EF4-FFF2-40B4-BE49-F238E27FC236}">
                <a16:creationId xmlns:a16="http://schemas.microsoft.com/office/drawing/2014/main" id="{FAD46570-70F4-497A-BCD3-CC7DE00011C1}"/>
              </a:ext>
            </a:extLst>
          </p:cNvPr>
          <p:cNvSpPr/>
          <p:nvPr/>
        </p:nvSpPr>
        <p:spPr>
          <a:xfrm>
            <a:off x="10317986" y="2805266"/>
            <a:ext cx="1035814" cy="615157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4" name="Oval 253">
            <a:extLst>
              <a:ext uri="{FF2B5EF4-FFF2-40B4-BE49-F238E27FC236}">
                <a16:creationId xmlns:a16="http://schemas.microsoft.com/office/drawing/2014/main" id="{8F7C3944-F88E-4EFD-A34C-FECB97F36FFB}"/>
              </a:ext>
            </a:extLst>
          </p:cNvPr>
          <p:cNvSpPr/>
          <p:nvPr/>
        </p:nvSpPr>
        <p:spPr>
          <a:xfrm>
            <a:off x="10241493" y="4954529"/>
            <a:ext cx="1204912" cy="734014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6" name="Connector: Elbow 255">
            <a:extLst>
              <a:ext uri="{FF2B5EF4-FFF2-40B4-BE49-F238E27FC236}">
                <a16:creationId xmlns:a16="http://schemas.microsoft.com/office/drawing/2014/main" id="{C5E55398-22AF-43BD-A6B1-023798380A90}"/>
              </a:ext>
            </a:extLst>
          </p:cNvPr>
          <p:cNvCxnSpPr>
            <a:cxnSpLocks/>
            <a:stCxn id="253" idx="0"/>
            <a:endCxn id="268" idx="1"/>
          </p:cNvCxnSpPr>
          <p:nvPr/>
        </p:nvCxnSpPr>
        <p:spPr>
          <a:xfrm rot="5400000" flipH="1" flipV="1">
            <a:off x="10855994" y="2102855"/>
            <a:ext cx="682311" cy="722513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65" name="Connector: Elbow 264">
            <a:extLst>
              <a:ext uri="{FF2B5EF4-FFF2-40B4-BE49-F238E27FC236}">
                <a16:creationId xmlns:a16="http://schemas.microsoft.com/office/drawing/2014/main" id="{E125EAEB-AD75-47C2-A412-7D8C6DD0C9E6}"/>
              </a:ext>
            </a:extLst>
          </p:cNvPr>
          <p:cNvCxnSpPr>
            <a:cxnSpLocks/>
            <a:stCxn id="254" idx="0"/>
            <a:endCxn id="269" idx="1"/>
          </p:cNvCxnSpPr>
          <p:nvPr/>
        </p:nvCxnSpPr>
        <p:spPr>
          <a:xfrm rot="5400000" flipH="1" flipV="1">
            <a:off x="10922807" y="4316707"/>
            <a:ext cx="558965" cy="716680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68" name="Rectangle 267">
            <a:extLst>
              <a:ext uri="{FF2B5EF4-FFF2-40B4-BE49-F238E27FC236}">
                <a16:creationId xmlns:a16="http://schemas.microsoft.com/office/drawing/2014/main" id="{21F85A3D-1811-46DD-879E-35DA84A2E125}"/>
              </a:ext>
            </a:extLst>
          </p:cNvPr>
          <p:cNvSpPr/>
          <p:nvPr/>
        </p:nvSpPr>
        <p:spPr>
          <a:xfrm>
            <a:off x="11558406" y="1888004"/>
            <a:ext cx="454792" cy="4699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rgbClr val="C00000"/>
                </a:solidFill>
              </a:rPr>
              <a:t>?</a:t>
            </a: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66218B11-2C52-493E-855B-901522203B16}"/>
              </a:ext>
            </a:extLst>
          </p:cNvPr>
          <p:cNvSpPr/>
          <p:nvPr/>
        </p:nvSpPr>
        <p:spPr>
          <a:xfrm>
            <a:off x="11560629" y="4160613"/>
            <a:ext cx="454792" cy="4699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rgbClr val="C00000"/>
                </a:solidFill>
              </a:rPr>
              <a:t>?</a:t>
            </a:r>
            <a:endParaRPr lang="en-US" sz="2000" b="1">
              <a:solidFill>
                <a:srgbClr val="C00000"/>
              </a:solidFill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6F5C8E74-35BE-441F-B1B0-5DBA39C1F6EA}"/>
              </a:ext>
            </a:extLst>
          </p:cNvPr>
          <p:cNvSpPr/>
          <p:nvPr/>
        </p:nvSpPr>
        <p:spPr>
          <a:xfrm>
            <a:off x="1747573" y="6394436"/>
            <a:ext cx="8451021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/>
              <a:t>Reference: 1. </a:t>
            </a:r>
            <a:r>
              <a:rPr lang="en-US" sz="800"/>
              <a:t>Centers for Disease Control and Prevention (CDC) website. </a:t>
            </a:r>
            <a:r>
              <a:rPr lang="en-US" sz="800">
                <a:hlinkClick r:id="rId69"/>
              </a:rPr>
              <a:t>https://www.cdc.gov/flu/about/burden/past-seasons.html</a:t>
            </a:r>
            <a:r>
              <a:rPr lang="en-US" sz="800"/>
              <a:t>. Accessed May 17, 2022. </a:t>
            </a:r>
            <a:r>
              <a:rPr lang="en-US" sz="800" b="1"/>
              <a:t>2.</a:t>
            </a:r>
            <a:r>
              <a:rPr lang="en-US" sz="800"/>
              <a:t> CDC website. 2021-2022 Preliminary In-Season Burden Estimate. </a:t>
            </a:r>
            <a:r>
              <a:rPr lang="en-US" sz="800" b="0" i="0">
                <a:solidFill>
                  <a:srgbClr val="303030"/>
                </a:solidFill>
                <a:effectLst/>
                <a:latin typeface="Arial" panose="020B0604020202020204" pitchFamily="34" charset="0"/>
                <a:hlinkClick r:id="rId70"/>
              </a:rPr>
              <a:t>https://www.cdc.gov/flu/about/burden/preliminary-in-season-estimates.htm</a:t>
            </a:r>
            <a:r>
              <a:rPr lang="en-US" sz="800" b="0" i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. Accessed July 14, 2022.</a:t>
            </a:r>
          </a:p>
          <a:p>
            <a:endParaRPr lang="en-US" sz="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4901B7-40EC-459B-8A72-62CB4D03F2A1}"/>
              </a:ext>
            </a:extLst>
          </p:cNvPr>
          <p:cNvSpPr/>
          <p:nvPr/>
        </p:nvSpPr>
        <p:spPr>
          <a:xfrm>
            <a:off x="1965698" y="6068226"/>
            <a:ext cx="8768563" cy="2373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>
                <a:solidFill>
                  <a:schemeClr val="tx1"/>
                </a:solidFill>
              </a:rPr>
              <a:t>* Consider the impact of Covid-19 mandates and other social distancing measures when interpreting influenza activity data from 2020-21 seas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1DA0652-C087-429A-9CAD-613E01BD46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  <p:sp>
        <p:nvSpPr>
          <p:cNvPr id="74" name="Title 3">
            <a:extLst>
              <a:ext uri="{FF2B5EF4-FFF2-40B4-BE49-F238E27FC236}">
                <a16:creationId xmlns:a16="http://schemas.microsoft.com/office/drawing/2014/main" id="{D875925A-D97E-4DC1-AFB8-0FFD9F5547DE}"/>
              </a:ext>
            </a:extLst>
          </p:cNvPr>
          <p:cNvSpPr txBox="1">
            <a:spLocks/>
          </p:cNvSpPr>
          <p:nvPr/>
        </p:nvSpPr>
        <p:spPr>
          <a:xfrm>
            <a:off x="559431" y="1225956"/>
            <a:ext cx="11406511" cy="19541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933" b="0" i="0" kern="12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1600">
                <a:latin typeface="+mj-lt"/>
              </a:rPr>
              <a:t>CDC</a:t>
            </a:r>
            <a:r>
              <a:rPr lang="en-US" sz="1600" b="0" i="0">
                <a:effectLst/>
                <a:latin typeface="+mj-lt"/>
              </a:rPr>
              <a:t> Estimates on Flu-Related Deaths and Hospitalizations from 2010-11 to 2021-22 Seasons</a:t>
            </a:r>
            <a:endParaRPr lang="en-US" sz="2800">
              <a:latin typeface="+mj-lt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612B874-F0D4-4633-922A-83F5F5C4F63F}"/>
              </a:ext>
            </a:extLst>
          </p:cNvPr>
          <p:cNvSpPr/>
          <p:nvPr/>
        </p:nvSpPr>
        <p:spPr>
          <a:xfrm>
            <a:off x="1965698" y="6204924"/>
            <a:ext cx="8768563" cy="2373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>
                <a:solidFill>
                  <a:schemeClr val="tx1"/>
                </a:solidFill>
              </a:rPr>
              <a:t>** Average of ranges for preliminary in-season burden estimates for 2021-2022</a:t>
            </a:r>
          </a:p>
        </p:txBody>
      </p:sp>
    </p:spTree>
    <p:extLst>
      <p:ext uri="{BB962C8B-B14F-4D97-AF65-F5344CB8AC3E}">
        <p14:creationId xmlns:p14="http://schemas.microsoft.com/office/powerpoint/2010/main" val="215004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34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5" y="594287"/>
            <a:ext cx="10271390" cy="387798"/>
          </a:xfrm>
        </p:spPr>
        <p:txBody>
          <a:bodyPr vert="horz">
            <a:noAutofit/>
          </a:bodyPr>
          <a:lstStyle/>
          <a:p>
            <a:r>
              <a:rPr lang="en-US" sz="2800" dirty="0">
                <a:solidFill>
                  <a:schemeClr val="accent2"/>
                </a:solidFill>
                <a:latin typeface="Franklin Gothic Book" panose="020B0503020102020204" pitchFamily="34" charset="0"/>
              </a:rPr>
              <a:t>Early Reports of High Levels of Flu Activity in Australia</a:t>
            </a:r>
            <a:r>
              <a:rPr lang="en-US" sz="2800" baseline="30000" dirty="0">
                <a:solidFill>
                  <a:schemeClr val="accent2"/>
                </a:solidFill>
                <a:latin typeface="Franklin Gothic Book" panose="020B0503020102020204" pitchFamily="34" charset="0"/>
              </a:rPr>
              <a:t>1</a:t>
            </a:r>
            <a:r>
              <a:rPr lang="en-US" sz="2800" dirty="0">
                <a:solidFill>
                  <a:schemeClr val="accent2"/>
                </a:solidFill>
                <a:latin typeface="Franklin Gothic Book" panose="020B0503020102020204" pitchFamily="34" charset="0"/>
              </a:rPr>
              <a:t>, Which Could Allude to Similar Activity in the Northern Hemisphere</a:t>
            </a:r>
            <a:r>
              <a:rPr lang="en-US" sz="2800" baseline="30000" dirty="0">
                <a:solidFill>
                  <a:schemeClr val="accent2"/>
                </a:solidFill>
                <a:latin typeface="Franklin Gothic Book" panose="020B0503020102020204" pitchFamily="34" charset="0"/>
              </a:rPr>
              <a:t>2</a:t>
            </a:r>
            <a:r>
              <a:rPr lang="en-US" sz="2800" dirty="0">
                <a:solidFill>
                  <a:schemeClr val="accent2"/>
                </a:solidFill>
                <a:latin typeface="Franklin Gothic Book" panose="020B0503020102020204" pitchFamily="34" charset="0"/>
              </a:rPr>
              <a:t>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C644AB6-4ADA-4735-A4E4-615245A319CC}"/>
              </a:ext>
            </a:extLst>
          </p:cNvPr>
          <p:cNvSpPr/>
          <p:nvPr/>
        </p:nvSpPr>
        <p:spPr>
          <a:xfrm>
            <a:off x="952707" y="1640162"/>
            <a:ext cx="4286854" cy="700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Franklin Gothic Book" panose="020B0503020102020204" pitchFamily="34" charset="0"/>
              </a:rPr>
              <a:t>Number of Laboratory-Confirmed Influenza, Australia, January 2017 to June 2022</a:t>
            </a:r>
            <a:r>
              <a:rPr lang="en-US" sz="1400" b="1" baseline="30000" dirty="0">
                <a:solidFill>
                  <a:schemeClr val="tx1"/>
                </a:solidFill>
                <a:latin typeface="Franklin Gothic Book" panose="020B0503020102020204" pitchFamily="34" charset="0"/>
              </a:rPr>
              <a:t>1</a:t>
            </a:r>
            <a:endParaRPr lang="en-US" sz="1400" b="1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2A2E89-C084-42CD-9ECD-4E3A3207193D}"/>
              </a:ext>
            </a:extLst>
          </p:cNvPr>
          <p:cNvSpPr txBox="1"/>
          <p:nvPr/>
        </p:nvSpPr>
        <p:spPr>
          <a:xfrm>
            <a:off x="1735157" y="6322371"/>
            <a:ext cx="9658132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Data Sources: 1. </a:t>
            </a:r>
            <a:r>
              <a:rPr lang="en-US" sz="800" dirty="0"/>
              <a:t>Australian Government Department of Health. Influenza Surveillance Report. </a:t>
            </a:r>
            <a:r>
              <a:rPr lang="en-US" sz="800" dirty="0">
                <a:hlinkClick r:id="rId7"/>
              </a:rPr>
              <a:t>https://www1.health.gov.au/internet/main/publishing.nsf/Content/cda-surveil-ozflu-flucurr.htm/$File/flu-07-2022.pdf</a:t>
            </a:r>
            <a:r>
              <a:rPr lang="en-US" sz="800" dirty="0"/>
              <a:t>. Accessed June 6, 2022.</a:t>
            </a:r>
            <a:r>
              <a:rPr lang="en-US" sz="800" dirty="0">
                <a:solidFill>
                  <a:srgbClr val="FF0000"/>
                </a:solidFill>
              </a:rPr>
              <a:t> </a:t>
            </a:r>
            <a:r>
              <a:rPr lang="en-US" sz="800" b="1" dirty="0"/>
              <a:t>2. </a:t>
            </a:r>
            <a:r>
              <a:rPr lang="en-US" sz="800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World Health Organization (WHO) website. </a:t>
            </a:r>
            <a:r>
              <a:rPr lang="en-US" sz="800" b="0" i="0" dirty="0" err="1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FluNet</a:t>
            </a:r>
            <a:r>
              <a:rPr lang="en-US" sz="800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 Summary. </a:t>
            </a:r>
            <a:r>
              <a:rPr lang="en-US" sz="800" b="0" i="0" dirty="0">
                <a:solidFill>
                  <a:srgbClr val="303030"/>
                </a:solidFill>
                <a:effectLst/>
                <a:latin typeface="Arial" panose="020B0604020202020204" pitchFamily="34" charset="0"/>
                <a:hlinkClick r:id="rId8"/>
              </a:rPr>
              <a:t>https://www.who.int/tools/flunet/flunet-summary</a:t>
            </a:r>
            <a:r>
              <a:rPr lang="en-US" sz="800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. Accessed July 20, 2022.</a:t>
            </a:r>
            <a:endParaRPr lang="en-US" sz="800" dirty="0"/>
          </a:p>
          <a:p>
            <a:endParaRPr lang="en-US" sz="105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63B21B-9781-4B44-89D5-A26206956EE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14" t="10921" r="3371"/>
          <a:stretch/>
        </p:blipFill>
        <p:spPr>
          <a:xfrm>
            <a:off x="6417161" y="2461127"/>
            <a:ext cx="4926239" cy="2918598"/>
          </a:xfrm>
          <a:prstGeom prst="rect">
            <a:avLst/>
          </a:prstGeom>
          <a:effectLst>
            <a:outerShdw blurRad="1905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111D35D-0435-4FFD-94C4-33600860748D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20" t="11014" r="1676"/>
          <a:stretch/>
        </p:blipFill>
        <p:spPr>
          <a:xfrm>
            <a:off x="783034" y="2461126"/>
            <a:ext cx="4626199" cy="2918599"/>
          </a:xfrm>
          <a:prstGeom prst="rect">
            <a:avLst/>
          </a:prstGeom>
          <a:effectLst>
            <a:outerShdw blurRad="190500" dist="762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7B87ADC0-E14B-4EBC-A57B-CB30822156E8}"/>
              </a:ext>
            </a:extLst>
          </p:cNvPr>
          <p:cNvSpPr/>
          <p:nvPr/>
        </p:nvSpPr>
        <p:spPr>
          <a:xfrm>
            <a:off x="6736854" y="1585884"/>
            <a:ext cx="4286854" cy="700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Franklin Gothic Book" panose="020B0503020102020204" pitchFamily="34" charset="0"/>
              </a:rPr>
              <a:t>Number of Influenza Hospitalizations at Sentinel Hospitals, Australia, April 2017 to June 2022</a:t>
            </a:r>
            <a:r>
              <a:rPr lang="en-US" sz="1400" b="1" baseline="30000" dirty="0">
                <a:solidFill>
                  <a:schemeClr val="tx1"/>
                </a:solidFill>
                <a:latin typeface="Franklin Gothic Book" panose="020B0503020102020204" pitchFamily="34" charset="0"/>
              </a:rPr>
              <a:t>1</a:t>
            </a:r>
            <a:endParaRPr lang="en-US" sz="1400" b="1" dirty="0">
              <a:solidFill>
                <a:schemeClr val="tx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B4165486-5703-4691-95FA-61A30EA37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427480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4" y="557711"/>
            <a:ext cx="10862845" cy="654470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Even More Critical Than Ever To Reprioritize Influenza Vaccinations In Response To Covid-19 Interference to Vaccine Coverage Rat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23B5F28E-DD1A-4A7E-90B4-18C954D01007}"/>
              </a:ext>
            </a:extLst>
          </p:cNvPr>
          <p:cNvSpPr txBox="1">
            <a:spLocks/>
          </p:cNvSpPr>
          <p:nvPr/>
        </p:nvSpPr>
        <p:spPr>
          <a:xfrm>
            <a:off x="525548" y="1375456"/>
            <a:ext cx="11140904" cy="307777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6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000">
                <a:solidFill>
                  <a:schemeClr val="accent1"/>
                </a:solidFill>
                <a:latin typeface="Franklin Gothic Book" panose="020B0503020102020204" pitchFamily="34" charset="0"/>
                <a:cs typeface="Calibri" panose="020F0502020204030204" pitchFamily="34" charset="0"/>
              </a:rPr>
              <a:t>Adopting opt-out versus opt-in protocol can allow flu vaccination rates to recover and grow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649C634-056F-428A-A2BC-6BC9AD187C79}"/>
              </a:ext>
            </a:extLst>
          </p:cNvPr>
          <p:cNvSpPr txBox="1"/>
          <p:nvPr/>
        </p:nvSpPr>
        <p:spPr>
          <a:xfrm>
            <a:off x="1782235" y="6315618"/>
            <a:ext cx="811253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1"/>
              <a:t>Data Sources:</a:t>
            </a:r>
            <a:r>
              <a:rPr lang="en-US" sz="800" b="1">
                <a:latin typeface="+mj-lt"/>
              </a:rPr>
              <a:t> 1</a:t>
            </a:r>
            <a:r>
              <a:rPr lang="en-US" sz="800">
                <a:latin typeface="+mj-lt"/>
              </a:rPr>
              <a:t>. Sanofi Data on File. IQVIA Claims for Medical (As of April 2) and Retail (As of April 1). Accessed June 13, 2022.</a:t>
            </a:r>
            <a:endParaRPr lang="en-US" sz="8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006E24E-9B5F-4296-84C8-7B92F4D83A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891743"/>
              </p:ext>
            </p:extLst>
          </p:nvPr>
        </p:nvGraphicFramePr>
        <p:xfrm>
          <a:off x="888538" y="1947234"/>
          <a:ext cx="10414923" cy="4368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E347A32-356F-415E-A35F-DE2CD1931EF7}"/>
              </a:ext>
            </a:extLst>
          </p:cNvPr>
          <p:cNvCxnSpPr>
            <a:cxnSpLocks/>
          </p:cNvCxnSpPr>
          <p:nvPr/>
        </p:nvCxnSpPr>
        <p:spPr>
          <a:xfrm flipV="1">
            <a:off x="1634067" y="2526222"/>
            <a:ext cx="6678913" cy="1021311"/>
          </a:xfrm>
          <a:prstGeom prst="straightConnector1">
            <a:avLst/>
          </a:prstGeom>
          <a:ln w="19050">
            <a:headEnd w="med" len="lg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D8CD150-6C3A-490C-AD6E-7BD95F0BA558}"/>
              </a:ext>
            </a:extLst>
          </p:cNvPr>
          <p:cNvCxnSpPr>
            <a:cxnSpLocks/>
          </p:cNvCxnSpPr>
          <p:nvPr/>
        </p:nvCxnSpPr>
        <p:spPr>
          <a:xfrm>
            <a:off x="8449733" y="2526221"/>
            <a:ext cx="897467" cy="351390"/>
          </a:xfrm>
          <a:prstGeom prst="straightConnector1">
            <a:avLst/>
          </a:prstGeom>
          <a:ln>
            <a:solidFill>
              <a:srgbClr val="C00000"/>
            </a:solidFill>
            <a:headEnd w="med" len="lg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558A8514-1476-4DDA-8167-7AD7D27B543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3386110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martArt Placeholder 2">
            <a:extLst>
              <a:ext uri="{FF2B5EF4-FFF2-40B4-BE49-F238E27FC236}">
                <a16:creationId xmlns:a16="http://schemas.microsoft.com/office/drawing/2014/main" id="{A764F002-135C-4FAB-8D25-B2250B04C003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>
          <a:xfrm>
            <a:off x="3180965" y="1652485"/>
            <a:ext cx="83607" cy="96000"/>
          </a:xfrm>
        </p:spPr>
      </p:sp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A5F5215C-BF2A-4C1D-B747-41AA06A5DC1C}"/>
              </a:ext>
            </a:extLst>
          </p:cNvPr>
          <p:cNvSpPr>
            <a:spLocks noGrp="1"/>
          </p:cNvSpPr>
          <p:nvPr>
            <p:ph type="dgm" sz="quarter" idx="19"/>
          </p:nvPr>
        </p:nvSpPr>
        <p:spPr>
          <a:xfrm>
            <a:off x="3180966" y="5046185"/>
            <a:ext cx="83607" cy="96000"/>
          </a:xfrm>
        </p:spPr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E01D71-4B54-4BDE-9315-43BD4BEFE4C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9C81796-677F-441F-A41D-A44F9494654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0" y="2796356"/>
            <a:ext cx="6361929" cy="537959"/>
          </a:xfrm>
        </p:spPr>
        <p:txBody>
          <a:bodyPr/>
          <a:lstStyle/>
          <a:p>
            <a:r>
              <a:rPr lang="en-US" sz="3600"/>
              <a:t>Influenza Guidance</a:t>
            </a:r>
          </a:p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90AED1-3B33-4718-B40D-6A47025BC05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4662" y="3652993"/>
            <a:ext cx="4732606" cy="536555"/>
          </a:xfrm>
        </p:spPr>
        <p:txBody>
          <a:bodyPr/>
          <a:lstStyle/>
          <a:p>
            <a:r>
              <a:rPr lang="en-US" sz="2000">
                <a:solidFill>
                  <a:schemeClr val="accent1"/>
                </a:solidFill>
                <a:latin typeface="Franklin Gothic Book" panose="020B0503020102020204" pitchFamily="34" charset="0"/>
                <a:cs typeface="Calibri" panose="020F0502020204030204" pitchFamily="34" charset="0"/>
              </a:rPr>
              <a:t>Strain Selection, CDC Recommendations and Coadministration</a:t>
            </a:r>
            <a:endParaRPr lang="en-US" sz="1800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11" name="Picture Placeholder 9">
            <a:extLst>
              <a:ext uri="{FF2B5EF4-FFF2-40B4-BE49-F238E27FC236}">
                <a16:creationId xmlns:a16="http://schemas.microsoft.com/office/drawing/2014/main" id="{072504F5-9787-4D19-AEEB-11CAFECDDD8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37" t="167" r="21952" b="-167"/>
          <a:stretch/>
        </p:blipFill>
        <p:spPr>
          <a:xfrm>
            <a:off x="6475940" y="90539"/>
            <a:ext cx="5716060" cy="6858000"/>
          </a:xfrm>
          <a:prstGeom prst="rect">
            <a:avLst/>
          </a:prstGeom>
          <a:noFill/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9484731-26F2-4938-95CD-86E83686A9E1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7AB8A6-E5A1-403C-BB58-B355C0B892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392" y="6682885"/>
            <a:ext cx="6462320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264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66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5" y="594287"/>
            <a:ext cx="11027172" cy="654470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VRBPAC Recommends the WHO Proposed 2022-2023 Influenza Strains for Northern Hemisphere (NH) Quadrivalent Influenza Vaccines</a:t>
            </a:r>
            <a:r>
              <a:rPr lang="en-US" sz="2800" baseline="30000">
                <a:solidFill>
                  <a:schemeClr val="accent2"/>
                </a:solidFill>
                <a:latin typeface="Franklin Gothic Book" panose="020B0503020102020204" pitchFamily="34" charset="0"/>
              </a:rPr>
              <a:t>1,2</a:t>
            </a:r>
            <a:br>
              <a:rPr lang="en-US" sz="2800">
                <a:solidFill>
                  <a:schemeClr val="accent1"/>
                </a:solidFill>
              </a:rPr>
            </a:br>
            <a:endParaRPr lang="en-US" sz="2800">
              <a:solidFill>
                <a:schemeClr val="accent2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1CC52E96-1587-4D63-A23F-FA2BEF0F45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529231"/>
              </p:ext>
            </p:extLst>
          </p:nvPr>
        </p:nvGraphicFramePr>
        <p:xfrm>
          <a:off x="1853868" y="1931387"/>
          <a:ext cx="8484263" cy="3567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4661">
                  <a:extLst>
                    <a:ext uri="{9D8B030D-6E8A-4147-A177-3AD203B41FA5}">
                      <a16:colId xmlns:a16="http://schemas.microsoft.com/office/drawing/2014/main" val="2988557316"/>
                    </a:ext>
                  </a:extLst>
                </a:gridCol>
                <a:gridCol w="1569843">
                  <a:extLst>
                    <a:ext uri="{9D8B030D-6E8A-4147-A177-3AD203B41FA5}">
                      <a16:colId xmlns:a16="http://schemas.microsoft.com/office/drawing/2014/main" val="1858878137"/>
                    </a:ext>
                  </a:extLst>
                </a:gridCol>
                <a:gridCol w="3499759">
                  <a:extLst>
                    <a:ext uri="{9D8B030D-6E8A-4147-A177-3AD203B41FA5}">
                      <a16:colId xmlns:a16="http://schemas.microsoft.com/office/drawing/2014/main" val="2831025283"/>
                    </a:ext>
                  </a:extLst>
                </a:gridCol>
              </a:tblGrid>
              <a:tr h="623532">
                <a:tc>
                  <a:txBody>
                    <a:bodyPr/>
                    <a:lstStyle/>
                    <a:p>
                      <a:pPr marL="64135" marR="484505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kern="1200">
                        <a:effectLst/>
                        <a:latin typeface="+mj-lt"/>
                      </a:endParaRPr>
                    </a:p>
                    <a:p>
                      <a:pPr marL="64135" marR="484505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  <a:latin typeface="+mj-lt"/>
                        </a:rPr>
                        <a:t>NH 2021-2022</a:t>
                      </a:r>
                      <a:r>
                        <a:rPr lang="en-US" sz="1400" kern="1200" baseline="3000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3</a:t>
                      </a:r>
                      <a:r>
                        <a:rPr lang="en-GB" sz="1400" kern="1200">
                          <a:effectLst/>
                          <a:latin typeface="+mj-lt"/>
                        </a:rPr>
                        <a:t> </a:t>
                      </a:r>
                    </a:p>
                  </a:txBody>
                  <a:tcPr marL="68580" marR="68580" marT="9525" marB="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400" kern="1200">
                        <a:effectLst/>
                        <a:latin typeface="+mj-lt"/>
                      </a:endParaRPr>
                    </a:p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  <a:latin typeface="+mj-lt"/>
                        </a:rPr>
                        <a:t>Strain</a:t>
                      </a:r>
                      <a:endParaRPr lang="en-US" sz="14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64135" marR="155575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kern="1200">
                        <a:effectLst/>
                        <a:latin typeface="+mj-lt"/>
                      </a:endParaRPr>
                    </a:p>
                    <a:p>
                      <a:pPr marL="64135" marR="155575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  <a:latin typeface="+mj-lt"/>
                        </a:rPr>
                        <a:t>NH </a:t>
                      </a:r>
                      <a:r>
                        <a:rPr lang="en-GB" sz="1400" kern="120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22-2023</a:t>
                      </a:r>
                      <a:r>
                        <a:rPr lang="en-US" sz="1400" baseline="30000">
                          <a:solidFill>
                            <a:schemeClr val="bg1"/>
                          </a:solidFill>
                          <a:latin typeface="Franklin Gothic Book" panose="020B0503020102020204" pitchFamily="34" charset="0"/>
                        </a:rPr>
                        <a:t>1,2</a:t>
                      </a:r>
                      <a:r>
                        <a:rPr lang="en-GB" sz="1400" kern="120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07374352"/>
                  </a:ext>
                </a:extLst>
              </a:tr>
              <a:tr h="73601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>
                          <a:effectLst/>
                          <a:latin typeface="+mj-lt"/>
                        </a:rPr>
                        <a:t>Egg: A/Victoria/2570/2019</a:t>
                      </a:r>
                      <a:endParaRPr lang="en-US" sz="1200">
                        <a:effectLst/>
                        <a:latin typeface="+mj-lt"/>
                      </a:endParaRPr>
                    </a:p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>
                          <a:effectLst/>
                          <a:latin typeface="+mj-lt"/>
                        </a:rPr>
                        <a:t>Non-Egg: A/Wisconsin/588/2019</a:t>
                      </a:r>
                      <a:endParaRPr lang="en-US" sz="12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64135" marR="0" algn="ctr">
                        <a:lnSpc>
                          <a:spcPts val="136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chemeClr val="accent1"/>
                          </a:solidFill>
                          <a:effectLst/>
                          <a:latin typeface="Georgia" panose="02040502050405020303" pitchFamily="18" charset="0"/>
                        </a:rPr>
                        <a:t>A (H1N1)</a:t>
                      </a:r>
                      <a:endParaRPr lang="en-US" sz="1800">
                        <a:solidFill>
                          <a:schemeClr val="accent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mpd="sng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>
                          <a:effectLst/>
                          <a:latin typeface="+mj-lt"/>
                        </a:rPr>
                        <a:t>Egg: A/Victoria/2570/2019</a:t>
                      </a:r>
                      <a:endParaRPr lang="en-US" sz="1200">
                        <a:effectLst/>
                        <a:latin typeface="+mj-lt"/>
                      </a:endParaRPr>
                    </a:p>
                    <a:p>
                      <a:pPr marL="64135" marR="64135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>
                          <a:effectLst/>
                          <a:latin typeface="+mj-lt"/>
                        </a:rPr>
                        <a:t>Non-Egg: A/Wisconsin/588/2019</a:t>
                      </a:r>
                      <a:endParaRPr lang="en-US" sz="12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4503035"/>
                  </a:ext>
                </a:extLst>
              </a:tr>
              <a:tr h="736012">
                <a:tc>
                  <a:txBody>
                    <a:bodyPr/>
                    <a:lstStyle/>
                    <a:p>
                      <a:pPr marL="0" marR="64135" algn="ctr">
                        <a:lnSpc>
                          <a:spcPts val="1365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>
                          <a:effectLst/>
                          <a:latin typeface="+mj-lt"/>
                        </a:rPr>
                        <a:t>Egg &amp; Non-Egg: A/Cambodia/e0826360/2020</a:t>
                      </a:r>
                      <a:endParaRPr lang="en-US" sz="12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4135" marR="0" algn="ctr">
                        <a:lnSpc>
                          <a:spcPts val="136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chemeClr val="accent1"/>
                          </a:solidFill>
                          <a:effectLst/>
                          <a:latin typeface="Georgia" panose="02040502050405020303" pitchFamily="18" charset="0"/>
                        </a:rPr>
                        <a:t>A (H3N2)</a:t>
                      </a:r>
                      <a:endParaRPr lang="en-US" sz="1800">
                        <a:solidFill>
                          <a:schemeClr val="accent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>
                          <a:effectLst/>
                          <a:latin typeface="+mj-lt"/>
                        </a:rPr>
                        <a:t>Egg: A/Darwin/9/2021</a:t>
                      </a:r>
                      <a:r>
                        <a:rPr kumimoji="0" lang="en-GB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A00E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endParaRPr lang="en-US" sz="1200">
                        <a:effectLst/>
                        <a:latin typeface="+mj-lt"/>
                      </a:endParaRPr>
                    </a:p>
                    <a:p>
                      <a:pPr marL="64135" marR="164465" algn="ctr">
                        <a:lnSpc>
                          <a:spcPts val="12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>
                          <a:effectLst/>
                          <a:latin typeface="+mj-lt"/>
                        </a:rPr>
                        <a:t>Non-Egg: A/Darwin/6/2021</a:t>
                      </a:r>
                      <a:r>
                        <a:rPr lang="en-GB" sz="1600" b="1" kern="120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*</a:t>
                      </a:r>
                      <a:endParaRPr lang="en-US" sz="1200" b="1">
                        <a:solidFill>
                          <a:schemeClr val="accent2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14650617"/>
                  </a:ext>
                </a:extLst>
              </a:tr>
              <a:tr h="736012">
                <a:tc>
                  <a:txBody>
                    <a:bodyPr/>
                    <a:lstStyle/>
                    <a:p>
                      <a:pPr marL="64135" marR="0" algn="ctr">
                        <a:lnSpc>
                          <a:spcPts val="136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>
                          <a:effectLst/>
                          <a:latin typeface="+mj-lt"/>
                        </a:rPr>
                        <a:t>B/Washington/02/2019</a:t>
                      </a:r>
                      <a:endParaRPr lang="en-US" sz="12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4135" marR="0" algn="ctr">
                        <a:lnSpc>
                          <a:spcPts val="136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chemeClr val="accent1"/>
                          </a:solidFill>
                          <a:effectLst/>
                          <a:latin typeface="Georgia" panose="02040502050405020303" pitchFamily="18" charset="0"/>
                        </a:rPr>
                        <a:t>B (Victoria)</a:t>
                      </a:r>
                      <a:endParaRPr lang="en-US" sz="1800">
                        <a:solidFill>
                          <a:schemeClr val="accent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>
                          <a:effectLst/>
                          <a:latin typeface="+mj-lt"/>
                        </a:rPr>
                        <a:t>B/Austria/1359417/2021</a:t>
                      </a:r>
                      <a:r>
                        <a:rPr lang="en-GB" sz="1600" b="1" kern="120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*</a:t>
                      </a:r>
                      <a:endParaRPr lang="en-US" sz="1200" b="1">
                        <a:solidFill>
                          <a:schemeClr val="accent2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353221"/>
                  </a:ext>
                </a:extLst>
              </a:tr>
              <a:tr h="736012">
                <a:tc>
                  <a:txBody>
                    <a:bodyPr/>
                    <a:lstStyle/>
                    <a:p>
                      <a:pPr marL="64135" marR="228600" algn="ctr">
                        <a:lnSpc>
                          <a:spcPts val="1365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>
                          <a:effectLst/>
                          <a:latin typeface="+mj-lt"/>
                        </a:rPr>
                        <a:t>B/Phuket/3073/2013</a:t>
                      </a:r>
                      <a:endParaRPr lang="en-US" sz="12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4135" marR="0" algn="ctr">
                        <a:lnSpc>
                          <a:spcPts val="136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chemeClr val="accent1"/>
                          </a:solidFill>
                          <a:effectLst/>
                          <a:latin typeface="Georgia" panose="02040502050405020303" pitchFamily="18" charset="0"/>
                        </a:rPr>
                        <a:t>B (Yamagata)</a:t>
                      </a:r>
                      <a:endParaRPr lang="en-US" sz="1800">
                        <a:solidFill>
                          <a:schemeClr val="accent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200">
                          <a:effectLst/>
                          <a:latin typeface="+mj-lt"/>
                        </a:rPr>
                        <a:t>B/Phuket/3073/2013</a:t>
                      </a:r>
                      <a:endParaRPr lang="en-US" sz="12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23559827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9A853357-6EB7-472D-B21F-1B277F64C728}"/>
              </a:ext>
            </a:extLst>
          </p:cNvPr>
          <p:cNvSpPr txBox="1"/>
          <p:nvPr/>
        </p:nvSpPr>
        <p:spPr>
          <a:xfrm>
            <a:off x="1596887" y="6044830"/>
            <a:ext cx="9948406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GB" sz="700" b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eferences: 1. </a:t>
            </a:r>
            <a:r>
              <a:rPr lang="en-GB" sz="70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DA. Influenza Vaccine for 2022-2023 Season.</a:t>
            </a:r>
            <a:r>
              <a:rPr lang="en-GB" sz="70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70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https://www.fda.gov/vaccines-blood-biologics/lot-release/influenza-vaccine-2022-2023-season#:~:text=The%20committee%20recommended%20that%20the%20quadrivalent%20formulation%20of%20cell%2D%20or,B%2FVictoria%20lineage)%3B%20and</a:t>
            </a:r>
            <a:r>
              <a:rPr lang="en-GB" sz="70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 Accessed July 14, 2022. </a:t>
            </a:r>
            <a:r>
              <a:rPr lang="en-US" sz="700" b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2.</a:t>
            </a:r>
            <a:r>
              <a:rPr lang="en-US" sz="70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70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HO. Recommended composition of influenza virus vaccines for use in 2022 northern hemisphere influenza season. </a:t>
            </a:r>
            <a:r>
              <a:rPr lang="en-GB" sz="700" u="sng">
                <a:solidFill>
                  <a:srgbClr val="5400B8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  <a:hlinkClick r:id="rId8"/>
              </a:rPr>
              <a:t>https://cdn.who.int/media/docs/default-source/influenza/who-influenza-recommendations/vcm-northern-hemisphere-recommendation-2022-2023/202202_recommendation.pdf?sfvrsn=5c88e006_13&amp;download=true</a:t>
            </a:r>
            <a:r>
              <a:rPr lang="en-GB" sz="70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 Accessed February 25, 2022. </a:t>
            </a:r>
            <a:r>
              <a:rPr lang="en-US" sz="700" b="1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3. </a:t>
            </a:r>
            <a:r>
              <a:rPr lang="en-US" sz="70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DA. Influenza Vaccine for the 2021-2022 Season. </a:t>
            </a:r>
            <a:r>
              <a:rPr lang="en-US" sz="70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  <a:hlinkClick r:id="rId9"/>
              </a:rPr>
              <a:t>https://www.fda.gov/vaccines-blood-biologics/lot-release/influenza-vaccine-2021-2022-season</a:t>
            </a:r>
            <a:r>
              <a:rPr lang="en-US" sz="70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 Accessed July 14, 2022.</a:t>
            </a:r>
            <a:endParaRPr lang="en-US" sz="70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F09CA1E-5BCD-49F1-A55B-2F89C8F8EFE0}"/>
              </a:ext>
            </a:extLst>
          </p:cNvPr>
          <p:cNvSpPr txBox="1"/>
          <p:nvPr/>
        </p:nvSpPr>
        <p:spPr>
          <a:xfrm>
            <a:off x="438475" y="1531385"/>
            <a:ext cx="11186331" cy="2667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4135" marR="484505">
              <a:lnSpc>
                <a:spcPts val="12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b="0" kern="1200">
                <a:effectLst/>
                <a:latin typeface="Franklin Gothic Book" panose="020B0503020102020204" pitchFamily="34" charset="0"/>
              </a:rPr>
              <a:t>All NH 2022-2023 Influenza Strains Same as Southern Hemisphere 2022-2023</a:t>
            </a:r>
            <a:endParaRPr lang="en-US" sz="2000" b="0">
              <a:effectLst/>
              <a:latin typeface="Franklin Gothic Book" panose="020B0503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: Diagonal Corners Rounded 3">
            <a:extLst>
              <a:ext uri="{FF2B5EF4-FFF2-40B4-BE49-F238E27FC236}">
                <a16:creationId xmlns:a16="http://schemas.microsoft.com/office/drawing/2014/main" id="{B98A2826-081F-49C4-8A41-490074D46582}"/>
              </a:ext>
            </a:extLst>
          </p:cNvPr>
          <p:cNvSpPr/>
          <p:nvPr/>
        </p:nvSpPr>
        <p:spPr>
          <a:xfrm>
            <a:off x="1762758" y="1908313"/>
            <a:ext cx="8666480" cy="3679686"/>
          </a:xfrm>
          <a:prstGeom prst="round2DiagRect">
            <a:avLst>
              <a:gd name="adj1" fmla="val 11037"/>
              <a:gd name="adj2" fmla="val 0"/>
            </a:avLst>
          </a:prstGeom>
          <a:noFill/>
          <a:ln w="203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1255B21-8E98-4288-BA94-C36B877650BB}"/>
              </a:ext>
            </a:extLst>
          </p:cNvPr>
          <p:cNvSpPr txBox="1"/>
          <p:nvPr/>
        </p:nvSpPr>
        <p:spPr>
          <a:xfrm>
            <a:off x="1869089" y="5504320"/>
            <a:ext cx="1022977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>
              <a:spcBef>
                <a:spcPts val="1200"/>
              </a:spcBef>
              <a:spcAft>
                <a:spcPts val="1000"/>
              </a:spcAft>
            </a:pPr>
            <a:r>
              <a:rPr lang="en-GB" sz="1600" b="1">
                <a:solidFill>
                  <a:schemeClr val="accent2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*</a:t>
            </a:r>
            <a:r>
              <a:rPr lang="en-GB" sz="1100" b="1">
                <a:solidFill>
                  <a:srgbClr val="000000"/>
                </a:solidFill>
                <a:effectLst/>
                <a:latin typeface="Franklin Gothic Book" panose="020B05030201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train change for NH 2022-23 vs. NH 2021-22</a:t>
            </a:r>
            <a:br>
              <a:rPr lang="en-US" sz="110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en-US" sz="1100">
                <a:solidFill>
                  <a:srgbClr val="000000"/>
                </a:solidFill>
                <a:latin typeface="Franklin Gothic Book" panose="020B05030201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VRBPAC: Vaccines and Related Biological Products Advisory Committee; WHO: World Health Organization</a:t>
            </a:r>
            <a:endParaRPr lang="en-GB" sz="1200">
              <a:solidFill>
                <a:srgbClr val="000000"/>
              </a:solidFill>
              <a:effectLst/>
              <a:latin typeface="Franklin Gothic Book" panose="020B050302010202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B30B6A70-A155-4BDC-A0B1-8F4D5AF2BAD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235525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8758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31">
            <a:extLst>
              <a:ext uri="{FF2B5EF4-FFF2-40B4-BE49-F238E27FC236}">
                <a16:creationId xmlns:a16="http://schemas.microsoft.com/office/drawing/2014/main" id="{14C4182C-9710-4D54-B579-ABADBD66A908}"/>
              </a:ext>
            </a:extLst>
          </p:cNvPr>
          <p:cNvSpPr/>
          <p:nvPr/>
        </p:nvSpPr>
        <p:spPr>
          <a:xfrm>
            <a:off x="597635" y="1460867"/>
            <a:ext cx="5015986" cy="4410344"/>
          </a:xfrm>
          <a:prstGeom prst="round2DiagRect">
            <a:avLst>
              <a:gd name="adj1" fmla="val 14276"/>
              <a:gd name="adj2" fmla="val 0"/>
            </a:avLst>
          </a:prstGeom>
          <a:solidFill>
            <a:schemeClr val="bg2"/>
          </a:solidFill>
          <a:ln w="19050">
            <a:solidFill>
              <a:schemeClr val="bg2">
                <a:lumMod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>
              <a:solidFill>
                <a:srgbClr val="000000"/>
              </a:solidFill>
              <a:effectLst/>
              <a:latin typeface="Franklin Gothic Book" panose="020B05030201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5" y="590837"/>
            <a:ext cx="10271390" cy="654470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CDC Recommends Immunization to Help Protect Against Influenza</a:t>
            </a:r>
            <a:r>
              <a:rPr lang="en-US" sz="2400" baseline="30000">
                <a:solidFill>
                  <a:schemeClr val="accent2"/>
                </a:solidFill>
                <a:latin typeface="Franklin Gothic Book" panose="020B0503020102020204" pitchFamily="34" charset="0"/>
              </a:rPr>
              <a:t>1,3</a:t>
            </a:r>
            <a:endParaRPr lang="en-US" sz="2800">
              <a:solidFill>
                <a:schemeClr val="accent2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Content Placeholder 2">
            <a:extLst>
              <a:ext uri="{FF2B5EF4-FFF2-40B4-BE49-F238E27FC236}">
                <a16:creationId xmlns:a16="http://schemas.microsoft.com/office/drawing/2014/main" id="{3A5D3B7E-EE89-42A4-A93F-CF5C0A3A51D9}"/>
              </a:ext>
            </a:extLst>
          </p:cNvPr>
          <p:cNvSpPr txBox="1">
            <a:spLocks/>
          </p:cNvSpPr>
          <p:nvPr/>
        </p:nvSpPr>
        <p:spPr>
          <a:xfrm>
            <a:off x="864952" y="1785498"/>
            <a:ext cx="4610469" cy="392671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i="0" kern="1200">
                <a:solidFill>
                  <a:schemeClr val="bg2">
                    <a:lumMod val="2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231775" indent="-2317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AE011A"/>
              </a:buClr>
              <a:buFont typeface="Arial" panose="020B0604020202020204" pitchFamily="34" charset="0"/>
              <a:buChar char="•"/>
              <a:tabLst/>
              <a:defRPr sz="2200" b="0" i="0" kern="1200">
                <a:solidFill>
                  <a:schemeClr val="bg2">
                    <a:lumMod val="2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2pPr>
            <a:lvl3pPr marL="866775" indent="-4127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STIXGeneral-Regular" pitchFamily="2" charset="2"/>
              <a:buChar char="⏤"/>
              <a:tabLst/>
              <a:defRPr sz="1800" b="0" i="0" kern="1200">
                <a:solidFill>
                  <a:schemeClr val="bg2">
                    <a:lumMod val="2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3pPr>
            <a:lvl4pPr marL="1258888" indent="-254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§"/>
              <a:tabLst/>
              <a:defRPr sz="1600" b="0" i="0" kern="1200">
                <a:solidFill>
                  <a:schemeClr val="bg2">
                    <a:lumMod val="2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4pPr>
            <a:lvl5pPr marL="1724025" indent="-254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AE011A"/>
              </a:buClr>
              <a:buFont typeface="Courier New" panose="02070309020205020404" pitchFamily="49" charset="0"/>
              <a:buChar char="o"/>
              <a:tabLst/>
              <a:defRPr sz="1600" b="0" i="0" kern="1200">
                <a:solidFill>
                  <a:schemeClr val="bg2">
                    <a:lumMod val="2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900"/>
              </a:spcBef>
              <a:spcAft>
                <a:spcPts val="0"/>
              </a:spcAft>
            </a:pPr>
            <a:r>
              <a:rPr lang="en-US" sz="2000">
                <a:solidFill>
                  <a:schemeClr val="accent1"/>
                </a:solidFill>
              </a:rPr>
              <a:t>CDC’s Advisory Committee on Immunization Practices (ACIP) recommends that </a:t>
            </a:r>
            <a:r>
              <a:rPr lang="en-US" sz="2000">
                <a:solidFill>
                  <a:schemeClr val="accent2"/>
                </a:solidFill>
              </a:rPr>
              <a:t>everyone 6 months of age and older </a:t>
            </a:r>
            <a:r>
              <a:rPr lang="en-US" sz="2000">
                <a:solidFill>
                  <a:schemeClr val="accent1"/>
                </a:solidFill>
              </a:rPr>
              <a:t>should get an influenza (flu) vaccine every season with rare exception.</a:t>
            </a:r>
            <a:r>
              <a:rPr lang="en-US" sz="2000" baseline="30000">
                <a:solidFill>
                  <a:schemeClr val="accent1"/>
                </a:solidFill>
              </a:rPr>
              <a:t>1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en-US" sz="2000" baseline="3000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ts val="1900"/>
              </a:spcBef>
              <a:spcAft>
                <a:spcPts val="0"/>
              </a:spcAft>
            </a:pPr>
            <a:r>
              <a:rPr lang="en-US" sz="2000">
                <a:solidFill>
                  <a:schemeClr val="accent1"/>
                </a:solidFill>
              </a:rPr>
              <a:t>Vaccination to prevent flu and its potentially serious complications is particularly important for people who are at </a:t>
            </a:r>
            <a:r>
              <a:rPr lang="en-US" sz="2000">
                <a:solidFill>
                  <a:schemeClr val="accent2"/>
                </a:solidFill>
              </a:rPr>
              <a:t>higher risk of developing serious flu complications</a:t>
            </a:r>
            <a:r>
              <a:rPr lang="en-US" sz="2000">
                <a:solidFill>
                  <a:schemeClr val="accent1"/>
                </a:solidFill>
              </a:rPr>
              <a:t>.</a:t>
            </a:r>
            <a:r>
              <a:rPr lang="en-US" sz="2000" baseline="3000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C871F94-3F4A-4011-98B9-B66D95F705DF}"/>
              </a:ext>
            </a:extLst>
          </p:cNvPr>
          <p:cNvSpPr txBox="1"/>
          <p:nvPr/>
        </p:nvSpPr>
        <p:spPr>
          <a:xfrm>
            <a:off x="1714884" y="6336574"/>
            <a:ext cx="9671384" cy="3385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914377"/>
            <a:r>
              <a:rPr lang="en-US" sz="800" b="1">
                <a:solidFill>
                  <a:srgbClr val="3B3838"/>
                </a:solidFill>
                <a:latin typeface="+mj-lt"/>
              </a:rPr>
              <a:t>References: 1. </a:t>
            </a:r>
            <a:r>
              <a:rPr lang="en-US" sz="800">
                <a:solidFill>
                  <a:srgbClr val="3B3838"/>
                </a:solidFill>
                <a:latin typeface="+mj-lt"/>
              </a:rPr>
              <a:t>Centers for Disease Control and Prevention (CDC). Key facts about seasonal flu vaccine. </a:t>
            </a:r>
            <a:r>
              <a:rPr lang="en-US" sz="800">
                <a:solidFill>
                  <a:srgbClr val="3B3838"/>
                </a:solidFill>
                <a:latin typeface="+mj-lt"/>
                <a:hlinkClick r:id="rId6"/>
              </a:rPr>
              <a:t>https://www.cdc.gov/flu/prevent/keyfacts.htm</a:t>
            </a:r>
            <a:r>
              <a:rPr lang="en-US" sz="800">
                <a:solidFill>
                  <a:srgbClr val="3B3838"/>
                </a:solidFill>
                <a:latin typeface="+mj-lt"/>
              </a:rPr>
              <a:t>. Accessed February 25, 2022. </a:t>
            </a:r>
            <a:r>
              <a:rPr lang="en-US" sz="800" b="1">
                <a:solidFill>
                  <a:srgbClr val="3B3838"/>
                </a:solidFill>
                <a:latin typeface="+mj-lt"/>
              </a:rPr>
              <a:t>2. </a:t>
            </a:r>
            <a:r>
              <a:rPr lang="en-US" sz="800">
                <a:solidFill>
                  <a:srgbClr val="3B3838"/>
                </a:solidFill>
                <a:latin typeface="+mj-lt"/>
              </a:rPr>
              <a:t>CDC website. People at Higher Risk of Flu Complications. </a:t>
            </a:r>
            <a:r>
              <a:rPr lang="en-US" sz="800" b="0" i="0">
                <a:solidFill>
                  <a:srgbClr val="303030"/>
                </a:solidFill>
                <a:effectLst/>
                <a:latin typeface="Arial" panose="020B0604020202020204" pitchFamily="34" charset="0"/>
                <a:hlinkClick r:id="rId7"/>
              </a:rPr>
              <a:t>https://www.cdc.gov/flu/highrisk/index.htm</a:t>
            </a:r>
            <a:r>
              <a:rPr lang="en-US" sz="800" b="0" i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. Accessed July 14, 2022.</a:t>
            </a:r>
            <a:endParaRPr lang="en-US" sz="800">
              <a:solidFill>
                <a:srgbClr val="3B3838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733F1B2-76DC-4CE2-82E4-B07BE185334F}"/>
              </a:ext>
            </a:extLst>
          </p:cNvPr>
          <p:cNvSpPr txBox="1"/>
          <p:nvPr/>
        </p:nvSpPr>
        <p:spPr>
          <a:xfrm>
            <a:off x="6096000" y="1417963"/>
            <a:ext cx="554955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sz="2000" b="1">
                <a:solidFill>
                  <a:srgbClr val="7A00E6"/>
                </a:solidFill>
                <a:effectLst/>
                <a:latin typeface="Franklin Gothic Book" panose="020B050302010202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Who is at higher risk of developing flu-related complications?</a:t>
            </a:r>
            <a:r>
              <a:rPr lang="en-GB" baseline="300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2</a:t>
            </a:r>
            <a:endParaRPr lang="en-US" baseline="30000">
              <a:solidFill>
                <a:schemeClr val="accent2"/>
              </a:solidFill>
              <a:latin typeface="Franklin Gothic Book" panose="020B050302010202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6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CDC recommends annual flu vaccination for people at greater risk of severe disease or complications.</a:t>
            </a:r>
            <a:r>
              <a:rPr lang="en-US" sz="1200" baseline="3000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5 </a:t>
            </a:r>
            <a:r>
              <a:rPr lang="en-US" sz="120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These </a:t>
            </a:r>
            <a:r>
              <a:rPr lang="en-US" sz="120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high-risk groups include:</a:t>
            </a:r>
            <a:r>
              <a:rPr lang="en-US" sz="1200" baseline="3000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5</a:t>
            </a:r>
            <a:endParaRPr lang="en-US" sz="1200"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2" name="Diagram 11">
                <a:extLst>
                  <a:ext uri="{FF2B5EF4-FFF2-40B4-BE49-F238E27FC236}">
                    <a16:creationId xmlns:a16="http://schemas.microsoft.com/office/drawing/2014/main" id="{DB7C462A-1B65-46C0-9D96-58A6675450D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168102597"/>
                  </p:ext>
                </p:extLst>
              </p:nvPr>
            </p:nvGraphicFramePr>
            <p:xfrm>
              <a:off x="6002953" y="2482192"/>
              <a:ext cx="5735644" cy="3506770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8" r:lo="rId9" r:qs="rId10" r:cs="rId11"/>
              </a:graphicData>
            </a:graphic>
          </p:graphicFrame>
        </mc:Choice>
        <mc:Fallback xmlns="">
          <p:graphicFrame>
            <p:nvGraphicFramePr>
              <p:cNvPr id="12" name="Diagram 11">
                <a:extLst>
                  <a:ext uri="{FF2B5EF4-FFF2-40B4-BE49-F238E27FC236}">
                    <a16:creationId xmlns:a16="http://schemas.microsoft.com/office/drawing/2014/main" id="{DB7C462A-1B65-46C0-9D96-58A6675450DD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168102597"/>
                  </p:ext>
                </p:extLst>
              </p:nvPr>
            </p:nvGraphicFramePr>
            <p:xfrm>
              <a:off x="6002953" y="2482192"/>
              <a:ext cx="5735644" cy="3506770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3" r:lo="rId14" r:qs="rId15" r:cs="rId16"/>
              </a:graphicData>
            </a:graphic>
          </p:graphicFrame>
        </mc:Fallback>
      </mc:AlternateContent>
      <p:sp>
        <p:nvSpPr>
          <p:cNvPr id="13" name="Oval 12" descr="Woman with kid with solid fill">
            <a:extLst>
              <a:ext uri="{FF2B5EF4-FFF2-40B4-BE49-F238E27FC236}">
                <a16:creationId xmlns:a16="http://schemas.microsoft.com/office/drawing/2014/main" id="{709C4EAA-9247-49B2-BF95-A9D70C4D0EBE}"/>
              </a:ext>
            </a:extLst>
          </p:cNvPr>
          <p:cNvSpPr/>
          <p:nvPr/>
        </p:nvSpPr>
        <p:spPr>
          <a:xfrm>
            <a:off x="6075766" y="2624055"/>
            <a:ext cx="452017" cy="452017"/>
          </a:xfrm>
          <a:prstGeom prst="ellipse">
            <a:avLst/>
          </a:pr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Oval 13" descr="Man with cane with solid fill">
            <a:extLst>
              <a:ext uri="{FF2B5EF4-FFF2-40B4-BE49-F238E27FC236}">
                <a16:creationId xmlns:a16="http://schemas.microsoft.com/office/drawing/2014/main" id="{5C76B033-F87B-457E-A627-84643E77E218}"/>
              </a:ext>
            </a:extLst>
          </p:cNvPr>
          <p:cNvSpPr/>
          <p:nvPr/>
        </p:nvSpPr>
        <p:spPr>
          <a:xfrm>
            <a:off x="6365105" y="3212575"/>
            <a:ext cx="399778" cy="399778"/>
          </a:xfrm>
          <a:prstGeom prst="ellipse">
            <a:avLst/>
          </a:pr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hueOff val="-2376"/>
              <a:satOff val="-154"/>
              <a:lumOff val="4073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7" name="Oval 16" descr="Heart organ with solid fill">
            <a:extLst>
              <a:ext uri="{FF2B5EF4-FFF2-40B4-BE49-F238E27FC236}">
                <a16:creationId xmlns:a16="http://schemas.microsoft.com/office/drawing/2014/main" id="{4B04A5E5-A7F4-41F1-84B3-04AF55C30D7E}"/>
              </a:ext>
            </a:extLst>
          </p:cNvPr>
          <p:cNvSpPr/>
          <p:nvPr/>
        </p:nvSpPr>
        <p:spPr>
          <a:xfrm>
            <a:off x="6504851" y="3748856"/>
            <a:ext cx="422217" cy="422217"/>
          </a:xfrm>
          <a:prstGeom prst="ellipse">
            <a:avLst/>
          </a:prstGeom>
          <a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hueOff val="-4753"/>
              <a:satOff val="-307"/>
              <a:lumOff val="8145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8" name="Oval 17" descr="Pregnant lady with solid fill">
            <a:extLst>
              <a:ext uri="{FF2B5EF4-FFF2-40B4-BE49-F238E27FC236}">
                <a16:creationId xmlns:a16="http://schemas.microsoft.com/office/drawing/2014/main" id="{480EAC92-4D87-4A26-B8C8-6AE2D4BD0157}"/>
              </a:ext>
            </a:extLst>
          </p:cNvPr>
          <p:cNvSpPr/>
          <p:nvPr/>
        </p:nvSpPr>
        <p:spPr>
          <a:xfrm>
            <a:off x="6504851" y="4307576"/>
            <a:ext cx="422217" cy="422217"/>
          </a:xfrm>
          <a:prstGeom prst="ellipse">
            <a:avLst/>
          </a:prstGeom>
          <a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hueOff val="-7129"/>
              <a:satOff val="-461"/>
              <a:lumOff val="12218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0" name="Oval 19" descr="Doctor female with solid fill">
            <a:extLst>
              <a:ext uri="{FF2B5EF4-FFF2-40B4-BE49-F238E27FC236}">
                <a16:creationId xmlns:a16="http://schemas.microsoft.com/office/drawing/2014/main" id="{B8459DBE-6485-4422-83C3-B58F6120FE89}"/>
              </a:ext>
            </a:extLst>
          </p:cNvPr>
          <p:cNvSpPr/>
          <p:nvPr/>
        </p:nvSpPr>
        <p:spPr>
          <a:xfrm>
            <a:off x="6067939" y="5377186"/>
            <a:ext cx="452017" cy="452017"/>
          </a:xfrm>
          <a:prstGeom prst="ellipse">
            <a:avLst/>
          </a:prstGeom>
          <a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hueOff val="-9506"/>
              <a:satOff val="-614"/>
              <a:lumOff val="1629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pic>
        <p:nvPicPr>
          <p:cNvPr id="22" name="Graphic 21" descr="Confused person with solid fill">
            <a:extLst>
              <a:ext uri="{FF2B5EF4-FFF2-40B4-BE49-F238E27FC236}">
                <a16:creationId xmlns:a16="http://schemas.microsoft.com/office/drawing/2014/main" id="{D9CC4085-820B-452D-A889-AC944F12CA9D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394905" y="4873069"/>
            <a:ext cx="399276" cy="399276"/>
          </a:xfrm>
          <a:prstGeom prst="rect">
            <a:avLst/>
          </a:prstGeom>
        </p:spPr>
      </p:pic>
      <p:sp>
        <p:nvSpPr>
          <p:cNvPr id="26" name="Footer Placeholder 1">
            <a:extLst>
              <a:ext uri="{FF2B5EF4-FFF2-40B4-BE49-F238E27FC236}">
                <a16:creationId xmlns:a16="http://schemas.microsoft.com/office/drawing/2014/main" id="{5A77A9C1-3CAB-49BF-AA38-E85C817F7F7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268244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524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5" y="590837"/>
            <a:ext cx="10271390" cy="654470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ACIP Recommendation on Flu Vaccines for Adults 65+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658CC299-3064-46D4-BE7F-4EE9D948AB22}"/>
              </a:ext>
            </a:extLst>
          </p:cNvPr>
          <p:cNvSpPr/>
          <p:nvPr/>
        </p:nvSpPr>
        <p:spPr>
          <a:xfrm>
            <a:off x="6844684" y="1550683"/>
            <a:ext cx="4905284" cy="3453680"/>
          </a:xfrm>
          <a:prstGeom prst="round2DiagRect">
            <a:avLst/>
          </a:prstGeom>
          <a:solidFill>
            <a:schemeClr val="tx2"/>
          </a:solidFill>
          <a:ln w="28575">
            <a:solidFill>
              <a:schemeClr val="accent1"/>
            </a:solidFill>
          </a:ln>
          <a:effectLst>
            <a:outerShdw blurRad="304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59263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7A00E6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ounded Rectangle 17">
            <a:extLst>
              <a:ext uri="{FF2B5EF4-FFF2-40B4-BE49-F238E27FC236}">
                <a16:creationId xmlns:a16="http://schemas.microsoft.com/office/drawing/2014/main" id="{676AFCD5-65DA-4DA2-BCC3-295B23322E7B}"/>
              </a:ext>
            </a:extLst>
          </p:cNvPr>
          <p:cNvSpPr/>
          <p:nvPr/>
        </p:nvSpPr>
        <p:spPr>
          <a:xfrm>
            <a:off x="432022" y="1538606"/>
            <a:ext cx="7531250" cy="3477833"/>
          </a:xfrm>
          <a:prstGeom prst="homePlate">
            <a:avLst>
              <a:gd name="adj" fmla="val 19154"/>
            </a:avLst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>
            <a:outerShdw blurRad="304800" dist="762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2143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2" b="0" i="0" u="none" strike="noStrike" kern="0" cap="none" spc="0" normalizeH="0" baseline="0" noProof="0">
              <a:ln>
                <a:noFill/>
              </a:ln>
              <a:solidFill>
                <a:srgbClr val="7A00E6">
                  <a:lumMod val="20000"/>
                  <a:lumOff val="8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F919BA-1A20-4BAE-8539-A920A71855AA}"/>
              </a:ext>
            </a:extLst>
          </p:cNvPr>
          <p:cNvSpPr/>
          <p:nvPr/>
        </p:nvSpPr>
        <p:spPr>
          <a:xfrm>
            <a:off x="501384" y="1745014"/>
            <a:ext cx="6881549" cy="3065018"/>
          </a:xfrm>
          <a:prstGeom prst="rect">
            <a:avLst/>
          </a:prstGeom>
          <a:noFill/>
          <a:ln>
            <a:noFill/>
          </a:ln>
          <a:effectLst>
            <a:outerShdw blurRad="2921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60960" rIns="121920" bIns="60960" rtlCol="0" anchor="ctr"/>
          <a:lstStyle/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DC’s Advisory Committee on Immunization Practices (ACIP) voted on June 22, 2022, to preferentially recommend the use of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gher dose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r adjuvanted flu vaccines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ver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ndard-dose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nadjuvanted flu vaccines for adults 65 years and older.</a:t>
            </a:r>
            <a:r>
              <a:rPr lang="en-US" sz="2000" baseline="30000">
                <a:solidFill>
                  <a:schemeClr val="bg1"/>
                </a:solidFill>
              </a:rPr>
              <a:t> 1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f none of these three vaccines is available at an opportunity for vaccine administration, then any other age-appropriate standard-dose influenza vaccine should be used.</a:t>
            </a:r>
            <a:r>
              <a:rPr lang="en-US" sz="2000" baseline="30000">
                <a:solidFill>
                  <a:schemeClr val="bg1"/>
                </a:solidFill>
              </a:rPr>
              <a:t>1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EC79893-284D-4459-B21F-CA3EEC33D1B4}"/>
              </a:ext>
            </a:extLst>
          </p:cNvPr>
          <p:cNvSpPr txBox="1"/>
          <p:nvPr/>
        </p:nvSpPr>
        <p:spPr>
          <a:xfrm>
            <a:off x="7609107" y="1981041"/>
            <a:ext cx="4081509" cy="22436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59263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7A00E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CIP Grouping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ategories</a:t>
            </a:r>
            <a:r>
              <a:rPr lang="en-US" sz="1800" baseline="30000">
                <a:solidFill>
                  <a:schemeClr val="accent2"/>
                </a:solidFill>
              </a:rPr>
              <a:t>1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59263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lang="en-US" b="1" u="sng">
              <a:solidFill>
                <a:srgbClr val="23004C"/>
              </a:solidFill>
              <a:latin typeface="Verdana"/>
            </a:endParaRPr>
          </a:p>
          <a:p>
            <a:pPr marL="0" marR="0" lvl="0" indent="0" algn="ctr" defTabSz="59263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sng" strike="noStrike" kern="1200" cap="none" spc="0" normalizeH="0" baseline="0" noProof="0">
              <a:ln>
                <a:noFill/>
              </a:ln>
              <a:solidFill>
                <a:srgbClr val="23004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59263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0" normalizeH="0" baseline="0" noProof="0">
                <a:ln>
                  <a:noFill/>
                </a:ln>
                <a:solidFill>
                  <a:srgbClr val="23004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gher Dose</a:t>
            </a:r>
          </a:p>
          <a:p>
            <a:pPr marL="0" marR="0" lvl="0" indent="0" algn="ctr" defTabSz="59263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strike="noStrike" kern="1200" cap="none" spc="0" normalizeH="0" baseline="0" noProof="0">
              <a:ln>
                <a:noFill/>
              </a:ln>
              <a:solidFill>
                <a:srgbClr val="23004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59263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strike="noStrike" kern="1200" cap="none" spc="0" normalizeH="0" baseline="0" noProof="0">
                <a:ln>
                  <a:noFill/>
                </a:ln>
                <a:solidFill>
                  <a:srgbClr val="23004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&amp;</a:t>
            </a:r>
          </a:p>
          <a:p>
            <a:pPr marL="0" marR="0" lvl="0" indent="0" algn="ctr" defTabSz="59263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strike="noStrike" kern="1200" cap="none" spc="0" normalizeH="0" baseline="0" noProof="0">
              <a:ln>
                <a:noFill/>
              </a:ln>
              <a:solidFill>
                <a:srgbClr val="23004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59263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0" normalizeH="0" baseline="0" noProof="0">
                <a:ln>
                  <a:noFill/>
                </a:ln>
                <a:solidFill>
                  <a:srgbClr val="23004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juvanted Flu Vaccin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D610029-F5EE-4586-9A35-E3094C0F6E37}"/>
              </a:ext>
            </a:extLst>
          </p:cNvPr>
          <p:cNvSpPr txBox="1"/>
          <p:nvPr/>
        </p:nvSpPr>
        <p:spPr>
          <a:xfrm>
            <a:off x="1664136" y="6435464"/>
            <a:ext cx="9247072" cy="21544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914377"/>
            <a:r>
              <a:rPr lang="en-US" sz="800" b="1">
                <a:latin typeface="+mj-lt"/>
              </a:rPr>
              <a:t>References: 1. </a:t>
            </a:r>
            <a:r>
              <a:rPr lang="en-US" sz="800">
                <a:latin typeface="+mj-lt"/>
              </a:rPr>
              <a:t>CDC website. </a:t>
            </a:r>
            <a:r>
              <a:rPr lang="en-US" sz="800">
                <a:latin typeface="+mj-lt"/>
                <a:hlinkClick r:id="rId6"/>
              </a:rPr>
              <a:t>https://www.cdc.gov/media/releases/2022/s0630-seniors-flu.html</a:t>
            </a:r>
            <a:r>
              <a:rPr lang="en-US" sz="800">
                <a:latin typeface="+mj-lt"/>
              </a:rPr>
              <a:t> Accessed June 30, 2022.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2F4DF2F8-FA33-43B1-849B-3A0DFEC1F9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317055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8339BC-03FC-4B8C-B501-195A34C5A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579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8339BC-03FC-4B8C-B501-195A34C5A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31">
            <a:extLst>
              <a:ext uri="{FF2B5EF4-FFF2-40B4-BE49-F238E27FC236}">
                <a16:creationId xmlns:a16="http://schemas.microsoft.com/office/drawing/2014/main" id="{95A8FAA6-36A4-4540-A510-78E90E31DA0E}"/>
              </a:ext>
            </a:extLst>
          </p:cNvPr>
          <p:cNvSpPr/>
          <p:nvPr/>
        </p:nvSpPr>
        <p:spPr>
          <a:xfrm>
            <a:off x="541831" y="1931567"/>
            <a:ext cx="4433390" cy="3037178"/>
          </a:xfrm>
          <a:prstGeom prst="round2DiagRect">
            <a:avLst>
              <a:gd name="adj1" fmla="val 11955"/>
              <a:gd name="adj2" fmla="val 0"/>
            </a:avLst>
          </a:prstGeom>
          <a:solidFill>
            <a:schemeClr val="accent4">
              <a:lumMod val="40000"/>
              <a:lumOff val="60000"/>
            </a:schemeClr>
          </a:solidFill>
          <a:ln w="28575">
            <a:solidFill>
              <a:schemeClr val="accent4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>
              <a:solidFill>
                <a:srgbClr val="000000"/>
              </a:solidFill>
              <a:effectLst/>
              <a:latin typeface="Franklin Gothic Book" panose="020B05030201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F3F235-9BD4-476E-BD4F-8D460E7DA2D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B807A375-E4BF-42B5-A60A-1318B9064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635" y="594287"/>
            <a:ext cx="10271390" cy="654470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accent2"/>
                </a:solidFill>
                <a:latin typeface="Franklin Gothic Book" panose="020B0503020102020204" pitchFamily="34" charset="0"/>
              </a:rPr>
              <a:t>Help Protect Your Community by Co-administering a Flu Shot and Covid-19 Vaccine This Seas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1DAE93-08DD-48C4-86DC-8A724799B72F}"/>
              </a:ext>
            </a:extLst>
          </p:cNvPr>
          <p:cNvSpPr/>
          <p:nvPr/>
        </p:nvSpPr>
        <p:spPr>
          <a:xfrm>
            <a:off x="0" y="0"/>
            <a:ext cx="12192000" cy="181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D5435FFD-9996-474B-BF53-ED19A78A8B5F}"/>
              </a:ext>
            </a:extLst>
          </p:cNvPr>
          <p:cNvSpPr txBox="1">
            <a:spLocks/>
          </p:cNvSpPr>
          <p:nvPr/>
        </p:nvSpPr>
        <p:spPr>
          <a:xfrm>
            <a:off x="452859" y="1313058"/>
            <a:ext cx="10843038" cy="4771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66688" indent="-166688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1"/>
              </a:buClr>
              <a:buFont typeface="Arial" charset="0"/>
              <a:buChar char="•"/>
              <a:tabLst>
                <a:tab pos="8459788" algn="r"/>
              </a:tabLst>
              <a:defRPr sz="1800" b="0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0038" indent="-13335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Font typeface="Arial" charset="0"/>
              <a:buChar char="•"/>
              <a:tabLst>
                <a:tab pos="8460000" algn="r"/>
              </a:tabLst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1462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charset="0"/>
              <a:buNone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b="1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9BFEA7D-AE42-457A-B5FC-EC660BBD831A}"/>
              </a:ext>
            </a:extLst>
          </p:cNvPr>
          <p:cNvSpPr txBox="1">
            <a:spLocks/>
          </p:cNvSpPr>
          <p:nvPr/>
        </p:nvSpPr>
        <p:spPr>
          <a:xfrm>
            <a:off x="525548" y="1343018"/>
            <a:ext cx="11140904" cy="869812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02392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Clr>
                <a:schemeClr val="accent2"/>
              </a:buClr>
              <a:buFontTx/>
              <a:buBlip>
                <a:blip r:embed="rId7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09585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7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11977" indent="-302392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7"/>
              </a:buBlip>
              <a:defRPr sz="1333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37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i="0">
                <a:solidFill>
                  <a:schemeClr val="accent1"/>
                </a:solidFill>
                <a:effectLst/>
                <a:latin typeface="Franklin Gothic Book" panose="020B0503020102020204" pitchFamily="34" charset="0"/>
              </a:rPr>
              <a:t>Add a flu shot to your eligible patient’s next visit and avoid missed opportunities</a:t>
            </a:r>
            <a:r>
              <a:rPr lang="en-US" sz="2000" b="1" baseline="3000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</a:t>
            </a:r>
            <a:endParaRPr lang="en-US" sz="2000" i="0">
              <a:solidFill>
                <a:schemeClr val="accent1"/>
              </a:solidFill>
              <a:effectLst/>
              <a:latin typeface="Franklin Gothic Book" panose="020B05030201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A9C5A33-F48E-471C-86A1-D845FE732339}"/>
              </a:ext>
            </a:extLst>
          </p:cNvPr>
          <p:cNvSpPr/>
          <p:nvPr/>
        </p:nvSpPr>
        <p:spPr>
          <a:xfrm>
            <a:off x="710063" y="5273770"/>
            <a:ext cx="11185088" cy="10385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/>
            <a:r>
              <a:rPr lang="en-US" sz="1400" b="1">
                <a:solidFill>
                  <a:schemeClr val="tx1"/>
                </a:solidFill>
                <a:latin typeface="Franklin Gothic Book" panose="020B0503020102020204" pitchFamily="34" charset="0"/>
              </a:rPr>
              <a:t>According to the CDC, studies to assess the safety and immunogenicity of coadministration of COVID-19 vaccines with other vaccines are</a:t>
            </a:r>
          </a:p>
          <a:p>
            <a:pPr defTabSz="914377"/>
            <a:r>
              <a:rPr lang="en-US" sz="1400" b="1">
                <a:solidFill>
                  <a:schemeClr val="tx1"/>
                </a:solidFill>
                <a:latin typeface="Franklin Gothic Book" panose="020B0503020102020204" pitchFamily="34" charset="0"/>
              </a:rPr>
              <a:t>underway. Providers should continue to consult the CDC guidance as more information becomes available. If you still have concerns and </a:t>
            </a:r>
            <a:br>
              <a:rPr lang="en-US" sz="1400" b="1">
                <a:solidFill>
                  <a:schemeClr val="tx1"/>
                </a:solidFill>
                <a:latin typeface="Franklin Gothic Book" panose="020B0503020102020204" pitchFamily="34" charset="0"/>
              </a:rPr>
            </a:br>
            <a:r>
              <a:rPr lang="en-US" sz="1400" b="1">
                <a:solidFill>
                  <a:schemeClr val="tx1"/>
                </a:solidFill>
                <a:latin typeface="Franklin Gothic Book" panose="020B0503020102020204" pitchFamily="34" charset="0"/>
              </a:rPr>
              <a:t>are going to administer multiple vaccines at a single visit, consider administering each injection in different limbs.</a:t>
            </a:r>
            <a:r>
              <a:rPr lang="en-US" sz="1400" b="1" baseline="30000">
                <a:solidFill>
                  <a:schemeClr val="tx1"/>
                </a:solidFill>
                <a:latin typeface="Franklin Gothic Book" panose="020B0503020102020204" pitchFamily="34" charset="0"/>
              </a:rPr>
              <a:t>1 </a:t>
            </a:r>
            <a:r>
              <a:rPr lang="en-US" sz="1400" b="1">
                <a:solidFill>
                  <a:schemeClr val="tx1"/>
                </a:solidFill>
                <a:latin typeface="Franklin Gothic Book" panose="020B0503020102020204" pitchFamily="34" charset="0"/>
              </a:rPr>
              <a:t>Even though both </a:t>
            </a:r>
            <a:br>
              <a:rPr lang="en-US" sz="1400" b="1">
                <a:solidFill>
                  <a:schemeClr val="tx1"/>
                </a:solidFill>
                <a:latin typeface="Franklin Gothic Book" panose="020B0503020102020204" pitchFamily="34" charset="0"/>
              </a:rPr>
            </a:br>
            <a:r>
              <a:rPr lang="en-US" sz="1400" b="1">
                <a:solidFill>
                  <a:schemeClr val="tx1"/>
                </a:solidFill>
                <a:latin typeface="Franklin Gothic Book" panose="020B0503020102020204" pitchFamily="34" charset="0"/>
              </a:rPr>
              <a:t>vaccines can be given at the same visit,</a:t>
            </a:r>
            <a:r>
              <a:rPr lang="en-US" sz="1400" b="1" baseline="30000">
                <a:solidFill>
                  <a:schemeClr val="tx1"/>
                </a:solidFill>
                <a:latin typeface="Franklin Gothic Book" panose="020B0503020102020204" pitchFamily="34" charset="0"/>
              </a:rPr>
              <a:t>1</a:t>
            </a:r>
            <a:r>
              <a:rPr lang="en-US" sz="1400" b="1">
                <a:solidFill>
                  <a:schemeClr val="tx1"/>
                </a:solidFill>
                <a:latin typeface="Franklin Gothic Book" panose="020B0503020102020204" pitchFamily="34" charset="0"/>
              </a:rPr>
              <a:t> people should follow the recommended schedule for either vaccine.</a:t>
            </a:r>
            <a:r>
              <a:rPr lang="en-US" sz="1400" b="1" baseline="30000">
                <a:solidFill>
                  <a:schemeClr val="tx1"/>
                </a:solidFill>
                <a:latin typeface="Franklin Gothic Book" panose="020B0503020102020204" pitchFamily="34" charset="0"/>
              </a:rPr>
              <a:t>2</a:t>
            </a:r>
          </a:p>
          <a:p>
            <a:pPr defTabSz="914377"/>
            <a:endParaRPr lang="en-US" sz="1400" b="1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D3963DC1-A472-47D8-B51D-D17841E677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5106" y="2242790"/>
            <a:ext cx="895190" cy="172871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4B74398-9966-473D-A68C-B8E226AAAF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6897" y="2422188"/>
            <a:ext cx="895190" cy="17140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EFE58D5E-3406-4EE7-BB3F-6D6A6FCBA5C9}"/>
              </a:ext>
            </a:extLst>
          </p:cNvPr>
          <p:cNvSpPr/>
          <p:nvPr/>
        </p:nvSpPr>
        <p:spPr>
          <a:xfrm>
            <a:off x="10668196" y="3903566"/>
            <a:ext cx="1049011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en-US" sz="1467">
                <a:latin typeface="Franklin Gothic Book" panose="020B0503020102020204" pitchFamily="34" charset="0"/>
              </a:rPr>
              <a:t>COVID-19 VACCIN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A34EAB5-E896-45E0-96F9-8795222A4C81}"/>
              </a:ext>
            </a:extLst>
          </p:cNvPr>
          <p:cNvSpPr/>
          <p:nvPr/>
        </p:nvSpPr>
        <p:spPr>
          <a:xfrm>
            <a:off x="9686897" y="4120722"/>
            <a:ext cx="995833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en-US" sz="1467">
                <a:latin typeface="Franklin Gothic Book" panose="020B0503020102020204" pitchFamily="34" charset="0"/>
              </a:rPr>
              <a:t>FLU VACCIN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0AF8152-F9F5-49E6-9C43-CDAFBCFAC630}"/>
              </a:ext>
            </a:extLst>
          </p:cNvPr>
          <p:cNvSpPr txBox="1"/>
          <p:nvPr/>
        </p:nvSpPr>
        <p:spPr>
          <a:xfrm>
            <a:off x="1664136" y="6312354"/>
            <a:ext cx="9247072" cy="3385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914377"/>
            <a:r>
              <a:rPr lang="en-US" sz="800" b="1">
                <a:latin typeface="+mj-lt"/>
              </a:rPr>
              <a:t>References: 1. </a:t>
            </a:r>
            <a:r>
              <a:rPr lang="en-US" sz="800">
                <a:latin typeface="+mj-lt"/>
              </a:rPr>
              <a:t>CDC. </a:t>
            </a:r>
            <a:r>
              <a:rPr lang="en-US" sz="800">
                <a:latin typeface="+mj-lt"/>
                <a:hlinkClick r:id="rId10"/>
              </a:rPr>
              <a:t>https://www.cdc.gov/vaccines/covid-19/clinical-considerations/covid-19-vaccines-us.html</a:t>
            </a:r>
            <a:r>
              <a:rPr lang="en-US" sz="800">
                <a:latin typeface="+mj-lt"/>
              </a:rPr>
              <a:t>. Accessed February 7, 2022. </a:t>
            </a:r>
            <a:br>
              <a:rPr lang="en-US" sz="800">
                <a:latin typeface="+mj-lt"/>
              </a:rPr>
            </a:br>
            <a:r>
              <a:rPr lang="en-US" sz="800" b="1">
                <a:latin typeface="+mj-lt"/>
              </a:rPr>
              <a:t>2.</a:t>
            </a:r>
            <a:r>
              <a:rPr lang="en-US" sz="800">
                <a:latin typeface="+mj-lt"/>
              </a:rPr>
              <a:t> CDC. </a:t>
            </a:r>
            <a:r>
              <a:rPr lang="en-US" sz="800">
                <a:latin typeface="+mj-lt"/>
                <a:hlinkClick r:id="rId11"/>
              </a:rPr>
              <a:t>https://www.cdc.gov/flu/season/faq-flu-season-2021-2022.htm</a:t>
            </a:r>
            <a:r>
              <a:rPr lang="en-US" sz="800">
                <a:latin typeface="+mj-lt"/>
              </a:rPr>
              <a:t>. Accessed January 19, 2022.</a:t>
            </a:r>
          </a:p>
        </p:txBody>
      </p:sp>
      <p:sp>
        <p:nvSpPr>
          <p:cNvPr id="26" name="Freeform 31">
            <a:extLst>
              <a:ext uri="{FF2B5EF4-FFF2-40B4-BE49-F238E27FC236}">
                <a16:creationId xmlns:a16="http://schemas.microsoft.com/office/drawing/2014/main" id="{48AB568C-F0CB-49A8-B097-2095A896BD20}"/>
              </a:ext>
            </a:extLst>
          </p:cNvPr>
          <p:cNvSpPr/>
          <p:nvPr/>
        </p:nvSpPr>
        <p:spPr>
          <a:xfrm>
            <a:off x="4923295" y="1900193"/>
            <a:ext cx="4742412" cy="3168754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00" b="1" i="0" u="sng">
                <a:solidFill>
                  <a:srgbClr val="075290"/>
                </a:solidFill>
                <a:effectLst/>
                <a:latin typeface="Franklin Gothic Book" panose="020B0503020102020204" pitchFamily="34" charset="0"/>
                <a:hlinkClick r:id="rId12"/>
              </a:rPr>
              <a:t>Best practices</a:t>
            </a:r>
            <a:r>
              <a:rPr lang="en-US" sz="1600" b="1" i="0">
                <a:solidFill>
                  <a:srgbClr val="000000"/>
                </a:solidFill>
                <a:effectLst/>
                <a:latin typeface="Franklin Gothic Book" panose="020B0503020102020204" pitchFamily="34" charset="0"/>
              </a:rPr>
              <a:t> for multiple injections include:</a:t>
            </a:r>
            <a:r>
              <a:rPr lang="en-US" sz="1600" baseline="3000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</a:t>
            </a:r>
            <a:endParaRPr lang="en-US" sz="1600" b="1" i="0">
              <a:solidFill>
                <a:srgbClr val="000000"/>
              </a:solidFill>
              <a:effectLst/>
              <a:latin typeface="Franklin Gothic Book" panose="020B0503020102020204" pitchFamily="34" charset="0"/>
            </a:endParaRPr>
          </a:p>
          <a:p>
            <a:pPr algn="l"/>
            <a:endParaRPr lang="en-US" sz="1100" b="0" i="0">
              <a:solidFill>
                <a:srgbClr val="000000"/>
              </a:solidFill>
              <a:effectLst/>
              <a:latin typeface="Franklin Gothic Book" panose="020B0503020102020204" pitchFamily="34" charset="0"/>
            </a:endParaRPr>
          </a:p>
          <a:p>
            <a:pPr marL="342900" indent="-342900" algn="l">
              <a:buClr>
                <a:schemeClr val="accent4"/>
              </a:buClr>
              <a:buFont typeface="Wingdings" panose="05000000000000000000" pitchFamily="2" charset="2"/>
              <a:buChar char="ü"/>
            </a:pPr>
            <a:r>
              <a:rPr lang="en-US" sz="1400" b="0" i="0">
                <a:solidFill>
                  <a:srgbClr val="000000"/>
                </a:solidFill>
                <a:effectLst/>
                <a:latin typeface="Franklin Gothic Book" panose="020B0503020102020204" pitchFamily="34" charset="0"/>
              </a:rPr>
              <a:t>Label each syringe with the name and the dosage (amount) of the vaccine, lot number, initials of the preparer, and exact beyond-use time, if applicable.</a:t>
            </a:r>
          </a:p>
          <a:p>
            <a:pPr marL="342900" indent="-342900" algn="l">
              <a:buClr>
                <a:schemeClr val="accent4"/>
              </a:buClr>
              <a:buFont typeface="Wingdings" panose="05000000000000000000" pitchFamily="2" charset="2"/>
              <a:buChar char="ü"/>
            </a:pPr>
            <a:endParaRPr lang="en-US" sz="1100" b="0" i="0">
              <a:solidFill>
                <a:srgbClr val="000000"/>
              </a:solidFill>
              <a:effectLst/>
              <a:latin typeface="Franklin Gothic Book" panose="020B0503020102020204" pitchFamily="34" charset="0"/>
            </a:endParaRPr>
          </a:p>
          <a:p>
            <a:pPr marL="342900" indent="-342900" algn="l">
              <a:buClr>
                <a:schemeClr val="accent4"/>
              </a:buClr>
              <a:buFont typeface="Wingdings" panose="05000000000000000000" pitchFamily="2" charset="2"/>
              <a:buChar char="ü"/>
            </a:pPr>
            <a:r>
              <a:rPr lang="en-US" sz="1400" b="0" i="0">
                <a:solidFill>
                  <a:srgbClr val="000000"/>
                </a:solidFill>
                <a:effectLst/>
                <a:latin typeface="Franklin Gothic Book" panose="020B0503020102020204" pitchFamily="34" charset="0"/>
              </a:rPr>
              <a:t>Separate injection sites by 1 inch or more, if possible.</a:t>
            </a:r>
          </a:p>
          <a:p>
            <a:pPr algn="l">
              <a:buClr>
                <a:schemeClr val="accent4"/>
              </a:buClr>
            </a:pPr>
            <a:endParaRPr lang="en-US" sz="1100" b="0" i="0">
              <a:solidFill>
                <a:srgbClr val="000000"/>
              </a:solidFill>
              <a:effectLst/>
              <a:latin typeface="Franklin Gothic Book" panose="020B0503020102020204" pitchFamily="34" charset="0"/>
            </a:endParaRPr>
          </a:p>
          <a:p>
            <a:pPr marL="342900" indent="-342900" algn="l">
              <a:buClr>
                <a:schemeClr val="accent4"/>
              </a:buClr>
              <a:buFont typeface="Wingdings" panose="05000000000000000000" pitchFamily="2" charset="2"/>
              <a:buChar char="ü"/>
            </a:pPr>
            <a:r>
              <a:rPr lang="en-US" sz="1400" b="0" i="0">
                <a:solidFill>
                  <a:srgbClr val="000000"/>
                </a:solidFill>
                <a:effectLst/>
                <a:latin typeface="Franklin Gothic Book" panose="020B0503020102020204" pitchFamily="34" charset="0"/>
              </a:rPr>
              <a:t>Administer the COVID-19 vaccine and vaccines that may be more likely to cause a local reaction in different limbs, if possible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FF36637-1694-4261-ABC1-6C795FA15BCF}"/>
              </a:ext>
            </a:extLst>
          </p:cNvPr>
          <p:cNvCxnSpPr/>
          <p:nvPr/>
        </p:nvCxnSpPr>
        <p:spPr>
          <a:xfrm>
            <a:off x="542968" y="5132423"/>
            <a:ext cx="11207000" cy="0"/>
          </a:xfrm>
          <a:prstGeom prst="line">
            <a:avLst/>
          </a:prstGeom>
          <a:ln w="1905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C7B9BA88-CF7E-4D39-A36D-9722B576A994}"/>
              </a:ext>
            </a:extLst>
          </p:cNvPr>
          <p:cNvSpPr txBox="1"/>
          <p:nvPr/>
        </p:nvSpPr>
        <p:spPr>
          <a:xfrm>
            <a:off x="819495" y="2291079"/>
            <a:ext cx="4082610" cy="24314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i="0">
                <a:solidFill>
                  <a:srgbClr val="000000"/>
                </a:solidFill>
                <a:effectLst/>
                <a:latin typeface="Franklin Gothic Book" panose="020B0503020102020204" pitchFamily="34" charset="0"/>
              </a:rPr>
              <a:t>CDC guidance for </a:t>
            </a:r>
            <a:r>
              <a:rPr lang="en-US">
                <a:solidFill>
                  <a:srgbClr val="000000"/>
                </a:solidFill>
                <a:latin typeface="Franklin Gothic Book" panose="020B0503020102020204" pitchFamily="34" charset="0"/>
              </a:rPr>
              <a:t>Covid</a:t>
            </a:r>
            <a:r>
              <a:rPr lang="en-US" i="0">
                <a:solidFill>
                  <a:srgbClr val="000000"/>
                </a:solidFill>
                <a:effectLst/>
                <a:latin typeface="Franklin Gothic Book" panose="020B0503020102020204" pitchFamily="34" charset="0"/>
              </a:rPr>
              <a:t>-19 </a:t>
            </a:r>
            <a:r>
              <a:rPr lang="en-US">
                <a:solidFill>
                  <a:srgbClr val="000000"/>
                </a:solidFill>
                <a:latin typeface="Franklin Gothic Book" panose="020B0503020102020204" pitchFamily="34" charset="0"/>
              </a:rPr>
              <a:t>v</a:t>
            </a:r>
            <a:r>
              <a:rPr lang="en-US" i="0">
                <a:solidFill>
                  <a:srgbClr val="000000"/>
                </a:solidFill>
                <a:effectLst/>
                <a:latin typeface="Franklin Gothic Book" panose="020B0503020102020204" pitchFamily="34" charset="0"/>
              </a:rPr>
              <a:t>accines includes coadministration with other vaccines,</a:t>
            </a:r>
            <a:r>
              <a:rPr lang="en-US" b="1" i="0">
                <a:solidFill>
                  <a:srgbClr val="000000"/>
                </a:solidFill>
                <a:effectLst/>
                <a:latin typeface="Franklin Gothic Book" panose="020B0503020102020204" pitchFamily="34" charset="0"/>
              </a:rPr>
              <a:t> including Flu vaccine, </a:t>
            </a:r>
            <a:r>
              <a:rPr lang="en-US" i="0">
                <a:solidFill>
                  <a:srgbClr val="000000"/>
                </a:solidFill>
                <a:effectLst/>
                <a:latin typeface="Franklin Gothic Book" panose="020B0503020102020204" pitchFamily="34" charset="0"/>
              </a:rPr>
              <a:t>without regard to timing.</a:t>
            </a:r>
            <a:r>
              <a:rPr lang="en-US" baseline="3000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,2</a:t>
            </a:r>
          </a:p>
          <a:p>
            <a:pPr algn="l"/>
            <a:endParaRPr lang="en-US" i="0">
              <a:solidFill>
                <a:srgbClr val="000000"/>
              </a:solidFill>
              <a:effectLst/>
              <a:latin typeface="Franklin Gothic Book" panose="020B0503020102020204" pitchFamily="34" charset="0"/>
            </a:endParaRPr>
          </a:p>
          <a:p>
            <a:pPr algn="l"/>
            <a:r>
              <a:rPr lang="en-US">
                <a:solidFill>
                  <a:srgbClr val="000000"/>
                </a:solidFill>
                <a:latin typeface="Franklin Gothic Book" panose="020B0503020102020204" pitchFamily="34" charset="0"/>
              </a:rPr>
              <a:t>This means a Flu shot and Covid-19 vaccine can be </a:t>
            </a:r>
            <a:r>
              <a:rPr lang="en-US" i="0">
                <a:solidFill>
                  <a:srgbClr val="000000"/>
                </a:solidFill>
                <a:effectLst/>
                <a:latin typeface="Franklin Gothic Book" panose="020B0503020102020204" pitchFamily="34" charset="0"/>
              </a:rPr>
              <a:t>administered during the same visit</a:t>
            </a:r>
            <a:r>
              <a:rPr lang="en-US">
                <a:solidFill>
                  <a:srgbClr val="000000"/>
                </a:solidFill>
                <a:latin typeface="Franklin Gothic Book" panose="020B0503020102020204" pitchFamily="34" charset="0"/>
              </a:rPr>
              <a:t>.</a:t>
            </a:r>
            <a:r>
              <a:rPr lang="en-US" baseline="30000">
                <a:solidFill>
                  <a:srgbClr val="000000"/>
                </a:solidFill>
                <a:latin typeface="Franklin Gothic Book" panose="020B0503020102020204" pitchFamily="34" charset="0"/>
                <a:cs typeface="Arial" panose="020B0604020202020204" pitchFamily="34" charset="0"/>
              </a:rPr>
              <a:t>1,2</a:t>
            </a:r>
            <a:endParaRPr lang="en-US" i="0">
              <a:solidFill>
                <a:srgbClr val="000000"/>
              </a:solidFill>
              <a:effectLst/>
              <a:latin typeface="Franklin Gothic Book" panose="020B0503020102020204" pitchFamily="34" charset="0"/>
            </a:endParaRPr>
          </a:p>
          <a:p>
            <a:pPr algn="l"/>
            <a:endParaRPr lang="en-US" sz="800" i="0">
              <a:solidFill>
                <a:srgbClr val="000000"/>
              </a:solidFill>
              <a:effectLst/>
              <a:latin typeface="Franklin Gothic Book" panose="020B0503020102020204" pitchFamily="34" charset="0"/>
            </a:endParaRPr>
          </a:p>
        </p:txBody>
      </p: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5D3B7C48-0722-4AEB-AE1E-4B824FE9ED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310" y="6685207"/>
            <a:ext cx="6459117" cy="170333"/>
          </a:xfrm>
        </p:spPr>
        <p:txBody>
          <a:bodyPr/>
          <a:lstStyle/>
          <a:p>
            <a:r>
              <a:rPr lang="en-US" cap="none"/>
              <a:t>MAT-US</a:t>
            </a:r>
            <a:r>
              <a:rPr lang="en-US" cap="none" noProof="0"/>
              <a:t>-2204959-v1.0-07/2022</a:t>
            </a:r>
          </a:p>
        </p:txBody>
      </p:sp>
    </p:spTree>
    <p:extLst>
      <p:ext uri="{BB962C8B-B14F-4D97-AF65-F5344CB8AC3E}">
        <p14:creationId xmlns:p14="http://schemas.microsoft.com/office/powerpoint/2010/main" val="744401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jLc4bt7i.SQ.9brSYh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1qrtois9F.uJDPtsno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DXNmMBTui9zaQvLOeu3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hq7QqP6UIqpQhjpWj0z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Oq1ajfs1GPTwC6W_07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dD2jpU14hw24TiOKNk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0PSRO9G.HORr3EtjMR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Abu_XtawJVfcAZVecaq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sRybfX.e.FR2e4weiA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4pfE9CQgeMJP2yUKOPr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gcmiMax5dSFNxk_bzU9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BUKGsUSlrC3rG2m.Xp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4cw0vkh9kLNqAd_TUc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2vInI_e7XvCw40GsPf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hNRjINbXeKpZjs2qiIG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5fnvJoj9Zq2Glqxj7PU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DIqC2CdieVeGdsBorK2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SUeCafO5OSolJw7Om9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4HEgEM2baHNZy6.9M6D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4wQeiGwxGaImV.dSrW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NHZ3RZUCAY_btmkYXSP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dusTaAyqaWbs_Ar0V8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dO3qH9dQ0c04wsVzO75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A6yk3kh0GG_5fypeDT6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Dez_89XXOtqanjsL6r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Zm2RE3FPm2ltl7p4cA3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Zp2wZ2SLMD2Cs8hmnK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O5rR0UKKvcpKoUDZ8O9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Wgku2hg5RKiMZLXSn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2BKM1cbUV8CueJgcno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x9dJXFYZOQAMGXyEI8p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fqVj687YijB1j0.JPk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UOkWxmP8irMjmm.LKj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Nn__n3k9h8MheAzjrT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wrp.R5EcLs4N2wlLfx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8.aKLmAjPoY8huWJxc9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8GxVSsm0q3O.dB8jOgP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wnCDSCYqRiHue_TXYv6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aAopRJEzXZhnraTWOj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zRKT2UFH0dVk2Vrn8Q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uBdrfoyXsiFEorhhxP6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AcrLIE7oTCZ_Q.Hvj6L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dC21k5g6A.NC.Ok6vT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sbBiobI89Tb12tkb4iE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0HbmyFav88_r90UHO.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zFlMyhQb.VhDGQuOhui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36X3mSoZT.yrofeHZ8o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U5uKMHzp.tBc7ac2k6S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NUWww695TdVRipf7W8.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HlB1NE1hvEGr3zG54j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5dxAde8UEI63LHrScR1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t4gojP.9MvWXggRLGVx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LIFC8Km0Zj.b92mNU7u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xAgv934v0Qv4P7BTM2u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oUs1TPBpY7xopCFDsj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JuHsZmyHRrqfrfjTXVS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UM3YweHw_xG3S2BfljH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DTd8aADiopOe3ixAqbp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zDzaLLVC60wdrBRzhT_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svCS.TOcfJ6MdPu0cM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dKMt0ASfiuNeBYopYRl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_bTXJTh7TO_5ZghWfB3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qGuxRt92hOc0qLJgAR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QCHi_TQf512wM10Gwdb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nofi">
  <a:themeElements>
    <a:clrScheme name="00. Sanofi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ED6C4E"/>
      </a:accent3>
      <a:accent4>
        <a:srgbClr val="62D488"/>
      </a:accent4>
      <a:accent5>
        <a:srgbClr val="F6C243"/>
      </a:accent5>
      <a:accent6>
        <a:srgbClr val="CA99F5"/>
      </a:accent6>
      <a:hlink>
        <a:srgbClr val="62D488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anofi PowerPoint Template - v1.3.potx" id="{4352F2BF-3048-4DE4-9704-8168842D78E0}" vid="{0D49CEEF-EE86-4EDB-B278-4D975FEF794F}"/>
    </a:ext>
  </a:extLst>
</a:theme>
</file>

<file path=ppt/theme/theme2.xml><?xml version="1.0" encoding="utf-8"?>
<a:theme xmlns:a="http://schemas.openxmlformats.org/drawingml/2006/main" name="14_Sanofi_Pasteur_Slide Kit_EN_16-9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P 16x9 PPT Theme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 16x9 PPT Theme" id="{FCFF739E-8A3C-45BA-9192-8A049AC97A06}" vid="{FDCD9782-36BA-4FD6-B745-5A7FD2EE11F8}"/>
    </a:ext>
  </a:extLst>
</a:theme>
</file>

<file path=ppt/theme/theme4.xml><?xml version="1.0" encoding="utf-8"?>
<a:theme xmlns:a="http://schemas.openxmlformats.org/drawingml/2006/main" name="9_Thème SANOFI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Sanofi">
  <a:themeElements>
    <a:clrScheme name="00. Sanofi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ED6C4E"/>
      </a:accent3>
      <a:accent4>
        <a:srgbClr val="62D488"/>
      </a:accent4>
      <a:accent5>
        <a:srgbClr val="F6C243"/>
      </a:accent5>
      <a:accent6>
        <a:srgbClr val="CA99F5"/>
      </a:accent6>
      <a:hlink>
        <a:srgbClr val="62D488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anofi Inspirational Presentation - v1.1.potx" id="{4CFEC47B-8BBC-4C05-8510-31BC64FCFB44}" vid="{BFB14AFE-52B0-4134-93B9-0F9EF24536E7}"/>
    </a:ext>
  </a:extLst>
</a:theme>
</file>

<file path=ppt/theme/theme6.xml><?xml version="1.0" encoding="utf-8"?>
<a:theme xmlns:a="http://schemas.openxmlformats.org/drawingml/2006/main" name="2_Sanofi">
  <a:themeElements>
    <a:clrScheme name="00. Sanofi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ED6C4E"/>
      </a:accent3>
      <a:accent4>
        <a:srgbClr val="62D488"/>
      </a:accent4>
      <a:accent5>
        <a:srgbClr val="F6C243"/>
      </a:accent5>
      <a:accent6>
        <a:srgbClr val="CA99F5"/>
      </a:accent6>
      <a:hlink>
        <a:srgbClr val="62D488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anofi PowerPoint Template - v1.3.potx" id="{4352F2BF-3048-4DE4-9704-8168842D78E0}" vid="{0D49CEEF-EE86-4EDB-B278-4D975FEF794F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039399CDC18148A45A208A258F0EE5" ma:contentTypeVersion="15" ma:contentTypeDescription="Create a new document." ma:contentTypeScope="" ma:versionID="132aaa18b13b0299707f204801010024">
  <xsd:schema xmlns:xsd="http://www.w3.org/2001/XMLSchema" xmlns:xs="http://www.w3.org/2001/XMLSchema" xmlns:p="http://schemas.microsoft.com/office/2006/metadata/properties" xmlns:ns2="91273673-eac0-45de-aa01-3f90ca6d80cb" xmlns:ns3="3955c2b7-6def-468e-a0ce-e2805dd24a3c" targetNamespace="http://schemas.microsoft.com/office/2006/metadata/properties" ma:root="true" ma:fieldsID="2b9384184c31f0f18542527caeccfe8e" ns2:_="" ns3:_="">
    <xsd:import namespace="91273673-eac0-45de-aa01-3f90ca6d80cb"/>
    <xsd:import namespace="3955c2b7-6def-468e-a0ce-e2805dd24a3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273673-eac0-45de-aa01-3f90ca6d80c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55c2b7-6def-468e-a0ce-e2805dd24a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1273673-eac0-45de-aa01-3f90ca6d80cb">
      <UserInfo>
        <DisplayName>MAC Visitors</DisplayName>
        <AccountId>52</AccountId>
        <AccountType/>
      </UserInfo>
      <UserInfo>
        <DisplayName>Byrne, Brian /US</DisplayName>
        <AccountId>364</AccountId>
        <AccountType/>
      </UserInfo>
      <UserInfo>
        <DisplayName>Pfister, Brian /US</DisplayName>
        <AccountId>501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B3747A-9850-4EA9-8153-1191249BAEB6}"/>
</file>

<file path=customXml/itemProps2.xml><?xml version="1.0" encoding="utf-8"?>
<ds:datastoreItem xmlns:ds="http://schemas.openxmlformats.org/officeDocument/2006/customXml" ds:itemID="{69B6FA5B-2A75-4F70-92B4-4604C7FC76BF}">
  <ds:schemaRefs>
    <ds:schemaRef ds:uri="http://www.w3.org/XML/1998/namespace"/>
    <ds:schemaRef ds:uri="http://purl.org/dc/dcmitype/"/>
    <ds:schemaRef ds:uri="a03cbb7b-efcb-4ea4-96dc-31ce896c3846"/>
    <ds:schemaRef ds:uri="http://schemas.microsoft.com/office/2006/documentManagement/types"/>
    <ds:schemaRef ds:uri="http://purl.org/dc/terms/"/>
    <ds:schemaRef ds:uri="feadf515-235b-4fe5-8ef5-2353b80085aa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DC5AC8E5-4236-4CFE-99F1-7F0BCCF110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2328</Words>
  <Application>Microsoft Office PowerPoint</Application>
  <PresentationFormat>Widescreen</PresentationFormat>
  <Paragraphs>301</Paragraphs>
  <Slides>1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9" baseType="lpstr">
      <vt:lpstr>Arial</vt:lpstr>
      <vt:lpstr>Arial </vt:lpstr>
      <vt:lpstr>Calibri</vt:lpstr>
      <vt:lpstr>Cambria Math</vt:lpstr>
      <vt:lpstr>Franklin Gothic Book</vt:lpstr>
      <vt:lpstr>Franklin Gothic Demi Cond</vt:lpstr>
      <vt:lpstr>Franklin Gothic Heavy</vt:lpstr>
      <vt:lpstr>Franklin Gothic Medium</vt:lpstr>
      <vt:lpstr>Georgia</vt:lpstr>
      <vt:lpstr>Sanofi Sans 3 Regular</vt:lpstr>
      <vt:lpstr>Verdana</vt:lpstr>
      <vt:lpstr>Verdana Pro Light</vt:lpstr>
      <vt:lpstr>Wingdings</vt:lpstr>
      <vt:lpstr>Sanofi</vt:lpstr>
      <vt:lpstr>14_Sanofi_Pasteur_Slide Kit_EN_16-9</vt:lpstr>
      <vt:lpstr>SP 16x9 PPT Theme</vt:lpstr>
      <vt:lpstr>9_Thème SANOFI</vt:lpstr>
      <vt:lpstr>1_Sanofi</vt:lpstr>
      <vt:lpstr>2_Sanofi</vt:lpstr>
      <vt:lpstr>think-cell Slide</vt:lpstr>
      <vt:lpstr>PowerPoint Presentation</vt:lpstr>
      <vt:lpstr>Less Severe Seasons May Indicate Season of Severe Flu-Related Complications Ahead</vt:lpstr>
      <vt:lpstr>Early Reports of High Levels of Flu Activity in Australia1, Which Could Allude to Similar Activity in the Northern Hemisphere2 </vt:lpstr>
      <vt:lpstr>Even More Critical Than Ever To Reprioritize Influenza Vaccinations In Response To Covid-19 Interference to Vaccine Coverage Rates</vt:lpstr>
      <vt:lpstr>PowerPoint Presentation</vt:lpstr>
      <vt:lpstr>VRBPAC Recommends the WHO Proposed 2022-2023 Influenza Strains for Northern Hemisphere (NH) Quadrivalent Influenza Vaccines1,2 </vt:lpstr>
      <vt:lpstr>CDC Recommends Immunization to Help Protect Against Influenza1,3</vt:lpstr>
      <vt:lpstr>ACIP Recommendation on Flu Vaccines for Adults 65+</vt:lpstr>
      <vt:lpstr>Help Protect Your Community by Co-administering a Flu Shot and Covid-19 Vaccine This Season</vt:lpstr>
      <vt:lpstr>PowerPoint Presentation</vt:lpstr>
      <vt:lpstr>The Best Way to Help Protect As Many Patients as Possible Against Flu is to Plan Your Immunization Campaigns Now </vt:lpstr>
      <vt:lpstr>Foster a Proactive, Pro-Immunization Culture Among All Staff to Increase Vaccine Confidence and Improve Vaccination Rates</vt:lpstr>
      <vt:lpstr>HCPs Recommendation On Vaccinations Makes A Difference1</vt:lpstr>
      <vt:lpstr>PowerPoint Presentation</vt:lpstr>
      <vt:lpstr>Patient Education Materials to Help Increase Flu Vaccination Coverage</vt:lpstr>
      <vt:lpstr>Adaptive Vaccination Solutions Overview and Clinic Signage</vt:lpstr>
      <vt:lpstr>WellConnect Available to Support Patient Reminder Recall</vt:lpstr>
      <vt:lpstr>Easily Navigate the Process for WellConnect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'dea, Madison /US</dc:creator>
  <cp:lastModifiedBy>Birkbeck, Rachel /US</cp:lastModifiedBy>
  <cp:revision>1</cp:revision>
  <dcterms:created xsi:type="dcterms:W3CDTF">2022-04-19T13:38:05Z</dcterms:created>
  <dcterms:modified xsi:type="dcterms:W3CDTF">2022-07-21T14:1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039399CDC18148A45A208A258F0EE5</vt:lpwstr>
  </property>
</Properties>
</file>